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notesSlides/notesSlide5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2.xml" ContentType="application/vnd.openxmlformats-officedocument.theme+xml"/>
  <Override PartName="/ppt/theme/theme3.xml" ContentType="application/vnd.openxmlformats-officedocument.theme+xml"/>
  <Override PartName="/ppt/authors.xml" ContentType="application/vnd.ms-powerpoint.authors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6.xml" ContentType="application/vnd.openxmlformats-officedocument.presentationml.tags+xml"/>
  <Override PartName="/docProps/app.xml" ContentType="application/vnd.openxmlformats-officedocument.extended-propertie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4" r:id="rId1"/>
  </p:sldMasterIdLst>
  <p:notesMasterIdLst>
    <p:notesMasterId r:id="rId7"/>
  </p:notesMasterIdLst>
  <p:handoutMasterIdLst>
    <p:handoutMasterId r:id="rId8"/>
  </p:handoutMasterIdLst>
  <p:sldIdLst>
    <p:sldId id="259" r:id="rId2"/>
    <p:sldId id="2147477603" r:id="rId3"/>
    <p:sldId id="2147473322" r:id="rId4"/>
    <p:sldId id="2147473320" r:id="rId5"/>
    <p:sldId id="2147473323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941B"/>
    <a:srgbClr val="C00000"/>
    <a:srgbClr val="1BBC9B"/>
    <a:srgbClr val="A1A1A1"/>
    <a:srgbClr val="004CD4"/>
    <a:srgbClr val="2972FF"/>
    <a:srgbClr val="8EC1FF"/>
    <a:srgbClr val="D9E9FF"/>
    <a:srgbClr val="0070B0"/>
    <a:srgbClr val="00609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9" autoAdjust="0"/>
    <p:restoredTop sz="84997" autoAdjust="0"/>
  </p:normalViewPr>
  <p:slideViewPr>
    <p:cSldViewPr snapToGrid="0">
      <p:cViewPr varScale="1">
        <p:scale>
          <a:sx n="134" d="100"/>
          <a:sy n="134" d="100"/>
        </p:scale>
        <p:origin x="1200" y="8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2"/>
        <a:sy n="1" d="2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17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customXml" Target="../customXml/item1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7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808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C7F407-E072-89D0-7315-E43B985037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C07377-CE36-9239-0D96-5249ADC66389}"/>
              </a:ext>
            </a:extLst>
          </p:cNvPr>
          <p:cNvSpPr>
            <a:spLocks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BC7D10-1C4B-0FFC-398E-07A2495AEFDA}"/>
              </a:ext>
            </a:extLst>
          </p:cNvPr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0A8C0E-0556-E904-73C4-3A742EC08F0F}"/>
              </a:ext>
            </a:extLst>
          </p:cNvPr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0857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C3999D-7F1C-5DAA-4A74-231B27DB03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44C911-9D5C-7799-2A66-5DCAA13959C7}"/>
              </a:ext>
            </a:extLst>
          </p:cNvPr>
          <p:cNvSpPr>
            <a:spLocks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50DC21-6272-04C8-407E-D373B316F042}"/>
              </a:ext>
            </a:extLst>
          </p:cNvPr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89851C-B111-487C-A544-E4ACBBFECFCC}"/>
              </a:ext>
            </a:extLst>
          </p:cNvPr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1371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9250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7345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161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646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DFD1FE3-FAC2-F02B-6BBB-E774A6AA78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632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FD1FE3-FAC2-F02B-6BBB-E774A6AA7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23C7D7B-BA94-D5D4-1141-46EF99C8816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0287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9D894B0-6BDE-53CB-10DA-5FD4B32DE0F7}"/>
              </a:ext>
            </a:extLst>
          </p:cNvPr>
          <p:cNvSpPr/>
          <p:nvPr userDrawn="1"/>
        </p:nvSpPr>
        <p:spPr>
          <a:xfrm>
            <a:off x="0" y="0"/>
            <a:ext cx="10287001" cy="6858000"/>
          </a:xfrm>
          <a:prstGeom prst="rect">
            <a:avLst/>
          </a:prstGeom>
          <a:gradFill flip="none" rotWithShape="1">
            <a:gsLst>
              <a:gs pos="18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5" name="Title 3">
            <a:extLst>
              <a:ext uri="{FF2B5EF4-FFF2-40B4-BE49-F238E27FC236}">
                <a16:creationId xmlns:a16="http://schemas.microsoft.com/office/drawing/2014/main" id="{1C9919F9-6E58-75A1-DD17-89072267B2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4401" y="1730526"/>
            <a:ext cx="5826124" cy="1828193"/>
          </a:xfrm>
        </p:spPr>
        <p:txBody>
          <a:bodyPr vert="horz" anchor="b"/>
          <a:lstStyle>
            <a:lvl1pPr algn="r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  <a:br>
              <a:rPr lang="en-US"/>
            </a:br>
            <a:r>
              <a:rPr lang="en-US"/>
              <a:t>Arial Bold</a:t>
            </a:r>
            <a:br>
              <a:rPr lang="en-US"/>
            </a:br>
            <a:r>
              <a:rPr lang="en-US"/>
              <a:t>max. 3 lines</a:t>
            </a:r>
          </a:p>
        </p:txBody>
      </p:sp>
      <p:sp>
        <p:nvSpPr>
          <p:cNvPr id="27" name="Text Placeholder 28">
            <a:extLst>
              <a:ext uri="{FF2B5EF4-FFF2-40B4-BE49-F238E27FC236}">
                <a16:creationId xmlns:a16="http://schemas.microsoft.com/office/drawing/2014/main" id="{5F679BF0-0183-3A43-E806-07385A2B6F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94401" y="3873031"/>
            <a:ext cx="5826124" cy="369332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 of the presentation (max. 1 line)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25231C6-C03B-7023-158D-2FACC3F5EF9F}"/>
              </a:ext>
            </a:extLst>
          </p:cNvPr>
          <p:cNvCxnSpPr>
            <a:cxnSpLocks/>
          </p:cNvCxnSpPr>
          <p:nvPr userDrawn="1"/>
        </p:nvCxnSpPr>
        <p:spPr>
          <a:xfrm>
            <a:off x="10848513" y="3715875"/>
            <a:ext cx="972011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6F8F9367-9D94-76AD-E6DA-E75FA55376D6}"/>
              </a:ext>
            </a:extLst>
          </p:cNvPr>
          <p:cNvSpPr txBox="1"/>
          <p:nvPr userDrawn="1"/>
        </p:nvSpPr>
        <p:spPr>
          <a:xfrm>
            <a:off x="9577269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sp>
        <p:nvSpPr>
          <p:cNvPr id="17" name="Graphic 15">
            <a:extLst>
              <a:ext uri="{FF2B5EF4-FFF2-40B4-BE49-F238E27FC236}">
                <a16:creationId xmlns:a16="http://schemas.microsoft.com/office/drawing/2014/main" id="{24D0D072-25BF-1E51-E408-6FA2852D480A}"/>
              </a:ext>
            </a:extLst>
          </p:cNvPr>
          <p:cNvSpPr/>
          <p:nvPr/>
        </p:nvSpPr>
        <p:spPr>
          <a:xfrm>
            <a:off x="5957959" y="4398510"/>
            <a:ext cx="6234041" cy="502770"/>
          </a:xfrm>
          <a:custGeom>
            <a:avLst/>
            <a:gdLst>
              <a:gd name="connsiteX0" fmla="*/ 374047 w 4648581"/>
              <a:gd name="connsiteY0" fmla="*/ 0 h 374904"/>
              <a:gd name="connsiteX1" fmla="*/ 4648581 w 4648581"/>
              <a:gd name="connsiteY1" fmla="*/ 0 h 374904"/>
              <a:gd name="connsiteX2" fmla="*/ 4648581 w 4648581"/>
              <a:gd name="connsiteY2" fmla="*/ 374904 h 374904"/>
              <a:gd name="connsiteX3" fmla="*/ 0 w 4648581"/>
              <a:gd name="connsiteY3" fmla="*/ 374904 h 374904"/>
              <a:gd name="connsiteX4" fmla="*/ 374047 w 4648581"/>
              <a:gd name="connsiteY4" fmla="*/ 0 h 374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581" h="374904">
                <a:moveTo>
                  <a:pt x="374047" y="0"/>
                </a:moveTo>
                <a:lnTo>
                  <a:pt x="4648581" y="0"/>
                </a:lnTo>
                <a:lnTo>
                  <a:pt x="4648581" y="374904"/>
                </a:lnTo>
                <a:lnTo>
                  <a:pt x="0" y="374904"/>
                </a:lnTo>
                <a:lnTo>
                  <a:pt x="374047" y="0"/>
                </a:lnTo>
                <a:close/>
              </a:path>
            </a:pathLst>
          </a:custGeom>
          <a:solidFill>
            <a:srgbClr val="E9163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215BD923-81A0-3A30-43F1-9EC592E8CB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11950" y="4509681"/>
            <a:ext cx="5108575" cy="276999"/>
          </a:xfrm>
        </p:spPr>
        <p:txBody>
          <a:bodyPr wrap="square" anchor="t">
            <a:spAutoFit/>
          </a:bodyPr>
          <a:lstStyle>
            <a:lvl1pPr marL="0" indent="0" algn="r" rtl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 |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7164184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Title Gre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004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52E04D90-3979-BF44-EC56-4FF035B82700}"/>
              </a:ext>
            </a:extLst>
          </p:cNvPr>
          <p:cNvSpPr/>
          <p:nvPr userDrawn="1"/>
        </p:nvSpPr>
        <p:spPr>
          <a:xfrm>
            <a:off x="8674100" y="1160463"/>
            <a:ext cx="3517900" cy="569753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8A7AD26-B5DE-BF0C-FDB1-31C3A0A12C81}"/>
              </a:ext>
            </a:extLst>
          </p:cNvPr>
          <p:cNvSpPr/>
          <p:nvPr userDrawn="1"/>
        </p:nvSpPr>
        <p:spPr>
          <a:xfrm>
            <a:off x="1" y="6462714"/>
            <a:ext cx="8572500" cy="267553"/>
          </a:xfrm>
          <a:custGeom>
            <a:avLst/>
            <a:gdLst>
              <a:gd name="connsiteX0" fmla="*/ 0 w 12191999"/>
              <a:gd name="connsiteY0" fmla="*/ 0 h 267553"/>
              <a:gd name="connsiteX1" fmla="*/ 12191999 w 12191999"/>
              <a:gd name="connsiteY1" fmla="*/ 0 h 267553"/>
              <a:gd name="connsiteX2" fmla="*/ 12191999 w 12191999"/>
              <a:gd name="connsiteY2" fmla="*/ 267553 h 267553"/>
              <a:gd name="connsiteX3" fmla="*/ 0 w 12191999"/>
              <a:gd name="connsiteY3" fmla="*/ 267553 h 267553"/>
              <a:gd name="connsiteX4" fmla="*/ 0 w 12191999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1999" h="267553">
                <a:moveTo>
                  <a:pt x="0" y="0"/>
                </a:moveTo>
                <a:lnTo>
                  <a:pt x="12191999" y="0"/>
                </a:lnTo>
                <a:lnTo>
                  <a:pt x="12191999" y="267553"/>
                </a:lnTo>
                <a:lnTo>
                  <a:pt x="0" y="26755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C91357-0B33-07B3-12FC-F7AF3B41A9AD}"/>
              </a:ext>
            </a:extLst>
          </p:cNvPr>
          <p:cNvSpPr txBox="1"/>
          <p:nvPr userDrawn="1"/>
        </p:nvSpPr>
        <p:spPr>
          <a:xfrm>
            <a:off x="413346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0E035F9-7771-11B9-EA59-9A34075CCC19}"/>
              </a:ext>
            </a:extLst>
          </p:cNvPr>
          <p:cNvSpPr/>
          <p:nvPr userDrawn="1"/>
        </p:nvSpPr>
        <p:spPr>
          <a:xfrm>
            <a:off x="7690734" y="6462714"/>
            <a:ext cx="881767" cy="267553"/>
          </a:xfrm>
          <a:custGeom>
            <a:avLst/>
            <a:gdLst>
              <a:gd name="connsiteX0" fmla="*/ 268696 w 881767"/>
              <a:gd name="connsiteY0" fmla="*/ 0 h 267553"/>
              <a:gd name="connsiteX1" fmla="*/ 881767 w 881767"/>
              <a:gd name="connsiteY1" fmla="*/ 0 h 267553"/>
              <a:gd name="connsiteX2" fmla="*/ 881767 w 881767"/>
              <a:gd name="connsiteY2" fmla="*/ 267553 h 267553"/>
              <a:gd name="connsiteX3" fmla="*/ 0 w 881767"/>
              <a:gd name="connsiteY3" fmla="*/ 267553 h 267553"/>
              <a:gd name="connsiteX4" fmla="*/ 268696 w 881767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1767" h="267553">
                <a:moveTo>
                  <a:pt x="268696" y="0"/>
                </a:moveTo>
                <a:lnTo>
                  <a:pt x="881767" y="0"/>
                </a:lnTo>
                <a:lnTo>
                  <a:pt x="881767" y="267553"/>
                </a:lnTo>
                <a:lnTo>
                  <a:pt x="0" y="267553"/>
                </a:lnTo>
                <a:lnTo>
                  <a:pt x="268696" y="0"/>
                </a:lnTo>
                <a:close/>
              </a:path>
            </a:pathLst>
          </a:custGeom>
          <a:solidFill>
            <a:srgbClr val="E9163C"/>
          </a:solidFill>
          <a:ln w="1428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C80CF8-B419-22DE-8C45-C173772B3543}"/>
              </a:ext>
            </a:extLst>
          </p:cNvPr>
          <p:cNvSpPr txBox="1"/>
          <p:nvPr userDrawn="1"/>
        </p:nvSpPr>
        <p:spPr>
          <a:xfrm>
            <a:off x="8047678" y="651972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indent="0" algn="r" rtl="0">
              <a:buNone/>
            </a:pPr>
            <a:fld id="{3A7F7DAC-108B-4077-9F7F-9FF8D87D836E}" type="slidenum">
              <a:rPr lang="en-US" sz="1000" smtClean="0">
                <a:solidFill>
                  <a:schemeClr val="bg1"/>
                </a:solidFill>
              </a:rPr>
              <a:pPr marL="0" indent="0" algn="r" rtl="0">
                <a:buNone/>
              </a:p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7906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CE8A06-CDE7-C9B8-41FC-D53CC3A91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59977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50" progId="TCLayout.ActiveDocument.1">
                  <p:embed/>
                </p:oleObj>
              </mc:Choice>
              <mc:Fallback>
                <p:oleObj name="think-cell Slide" r:id="rId6" imgW="349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CE8A06-CDE7-C9B8-41FC-D53CC3A91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0626BCEA-F163-3FF9-ECB1-21EE3C75D02C}"/>
              </a:ext>
            </a:extLst>
          </p:cNvPr>
          <p:cNvSpPr/>
          <p:nvPr userDrawn="1"/>
        </p:nvSpPr>
        <p:spPr>
          <a:xfrm>
            <a:off x="0" y="6462714"/>
            <a:ext cx="12191999" cy="267553"/>
          </a:xfrm>
          <a:custGeom>
            <a:avLst/>
            <a:gdLst>
              <a:gd name="connsiteX0" fmla="*/ 0 w 12191999"/>
              <a:gd name="connsiteY0" fmla="*/ 0 h 267553"/>
              <a:gd name="connsiteX1" fmla="*/ 12191999 w 12191999"/>
              <a:gd name="connsiteY1" fmla="*/ 0 h 267553"/>
              <a:gd name="connsiteX2" fmla="*/ 12191999 w 12191999"/>
              <a:gd name="connsiteY2" fmla="*/ 267553 h 267553"/>
              <a:gd name="connsiteX3" fmla="*/ 0 w 12191999"/>
              <a:gd name="connsiteY3" fmla="*/ 267553 h 267553"/>
              <a:gd name="connsiteX4" fmla="*/ 0 w 12191999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1999" h="267553">
                <a:moveTo>
                  <a:pt x="0" y="0"/>
                </a:moveTo>
                <a:lnTo>
                  <a:pt x="12191999" y="0"/>
                </a:lnTo>
                <a:lnTo>
                  <a:pt x="12191999" y="267553"/>
                </a:lnTo>
                <a:lnTo>
                  <a:pt x="0" y="26755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CEAD62-5EDF-8B4F-D2F7-FD0F95F6A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58578"/>
            <a:ext cx="10082412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9" y="1557338"/>
            <a:ext cx="11412536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8EEF22F-9FFB-C804-18CB-4323FEC32163}"/>
              </a:ext>
            </a:extLst>
          </p:cNvPr>
          <p:cNvSpPr txBox="1"/>
          <p:nvPr userDrawn="1"/>
        </p:nvSpPr>
        <p:spPr>
          <a:xfrm>
            <a:off x="413346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6371387-1DE5-15CB-052E-C6056403E1B2}"/>
              </a:ext>
            </a:extLst>
          </p:cNvPr>
          <p:cNvCxnSpPr>
            <a:cxnSpLocks/>
          </p:cNvCxnSpPr>
          <p:nvPr userDrawn="1"/>
        </p:nvCxnSpPr>
        <p:spPr>
          <a:xfrm>
            <a:off x="10641600" y="310036"/>
            <a:ext cx="0" cy="326450"/>
          </a:xfrm>
          <a:prstGeom prst="line">
            <a:avLst/>
          </a:prstGeom>
          <a:ln w="28575">
            <a:solidFill>
              <a:srgbClr val="E916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8BC8AD84-4C44-2B61-4BE5-B6FFDDADE92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7739" y="350590"/>
            <a:ext cx="1046533" cy="245341"/>
          </a:xfrm>
          <a:prstGeom prst="rect">
            <a:avLst/>
          </a:prstGeom>
        </p:spPr>
      </p:pic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D6F422E-B0A6-8E5E-D866-1DBD9FEE1431}"/>
              </a:ext>
            </a:extLst>
          </p:cNvPr>
          <p:cNvSpPr/>
          <p:nvPr userDrawn="1"/>
        </p:nvSpPr>
        <p:spPr>
          <a:xfrm>
            <a:off x="11310234" y="6462714"/>
            <a:ext cx="881767" cy="267553"/>
          </a:xfrm>
          <a:custGeom>
            <a:avLst/>
            <a:gdLst>
              <a:gd name="connsiteX0" fmla="*/ 268696 w 881767"/>
              <a:gd name="connsiteY0" fmla="*/ 0 h 267553"/>
              <a:gd name="connsiteX1" fmla="*/ 881767 w 881767"/>
              <a:gd name="connsiteY1" fmla="*/ 0 h 267553"/>
              <a:gd name="connsiteX2" fmla="*/ 881767 w 881767"/>
              <a:gd name="connsiteY2" fmla="*/ 267553 h 267553"/>
              <a:gd name="connsiteX3" fmla="*/ 0 w 881767"/>
              <a:gd name="connsiteY3" fmla="*/ 267553 h 267553"/>
              <a:gd name="connsiteX4" fmla="*/ 268696 w 881767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1767" h="267553">
                <a:moveTo>
                  <a:pt x="268696" y="0"/>
                </a:moveTo>
                <a:lnTo>
                  <a:pt x="881767" y="0"/>
                </a:lnTo>
                <a:lnTo>
                  <a:pt x="881767" y="267553"/>
                </a:lnTo>
                <a:lnTo>
                  <a:pt x="0" y="267553"/>
                </a:lnTo>
                <a:lnTo>
                  <a:pt x="268696" y="0"/>
                </a:lnTo>
                <a:close/>
              </a:path>
            </a:pathLst>
          </a:custGeom>
          <a:solidFill>
            <a:srgbClr val="E9163C"/>
          </a:solidFill>
          <a:ln w="1428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D2AF90D4-FC1C-E61D-CA1D-7C7ABCCF16BA}"/>
              </a:ext>
            </a:extLst>
          </p:cNvPr>
          <p:cNvSpPr txBox="1"/>
          <p:nvPr userDrawn="1"/>
        </p:nvSpPr>
        <p:spPr>
          <a:xfrm>
            <a:off x="11667178" y="651972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indent="0" algn="r" rtl="0">
              <a:buNone/>
            </a:pPr>
            <a:fld id="{3A7F7DAC-108B-4077-9F7F-9FF8D87D836E}" type="slidenum">
              <a:rPr lang="en-US" sz="1000" smtClean="0">
                <a:solidFill>
                  <a:schemeClr val="bg1"/>
                </a:solidFill>
              </a:rPr>
              <a:pPr marL="0" indent="0" algn="r" rtl="0">
                <a:buNone/>
              </a:pPr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879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38138" indent="-16033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96888" indent="-1666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7388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71538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57">
          <p15:clr>
            <a:srgbClr val="F26B43"/>
          </p15:clr>
        </p15:guide>
        <p15:guide id="3" pos="7446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731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23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2.xml"/><Relationship Id="rId7" Type="http://schemas.openxmlformats.org/officeDocument/2006/relationships/slide" Target="slide3.xml"/><Relationship Id="rId12" Type="http://schemas.openxmlformats.org/officeDocument/2006/relationships/hyperlink" Target="https://server.think-cell.com/portal/en/trial.srf?utm_source=think-cell&amp;utm_medium=templates&amp;utm_campaign=template-en-roadmap-072025&amp;utm_term=roadmap-072025&amp;utm_content=roadmap-072025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11" Type="http://schemas.openxmlformats.org/officeDocument/2006/relationships/slide" Target="slide5.xml"/><Relationship Id="rId5" Type="http://schemas.openxmlformats.org/officeDocument/2006/relationships/image" Target="../media/image3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6.bin"/><Relationship Id="rId9" Type="http://schemas.openxmlformats.org/officeDocument/2006/relationships/slide" Target="slide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18" Type="http://schemas.openxmlformats.org/officeDocument/2006/relationships/image" Target="../media/image20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9.svg"/><Relationship Id="rId12" Type="http://schemas.openxmlformats.org/officeDocument/2006/relationships/image" Target="../media/image14.png"/><Relationship Id="rId17" Type="http://schemas.openxmlformats.org/officeDocument/2006/relationships/image" Target="../media/image19.sv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8.png"/><Relationship Id="rId1" Type="http://schemas.openxmlformats.org/officeDocument/2006/relationships/tags" Target="../tags/tag10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1.emf"/><Relationship Id="rId15" Type="http://schemas.openxmlformats.org/officeDocument/2006/relationships/image" Target="../media/image17.svg"/><Relationship Id="rId10" Type="http://schemas.openxmlformats.org/officeDocument/2006/relationships/image" Target="../media/image12.png"/><Relationship Id="rId19" Type="http://schemas.openxmlformats.org/officeDocument/2006/relationships/image" Target="../media/image21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DB7B5BB-4159-D447-6FC6-2112AD7650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B7B5BB-4159-D447-6FC6-2112AD765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EC9F0D5D-3A30-B569-0EAE-F5B6299A1E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4401" y="2949321"/>
            <a:ext cx="5826124" cy="609398"/>
          </a:xfrm>
        </p:spPr>
        <p:txBody>
          <a:bodyPr vert="horz"/>
          <a:lstStyle/>
          <a:p>
            <a:r>
              <a:rPr lang="en-US" noProof="0"/>
              <a:t>Roadmap templat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34ECF9-7B40-081D-F53B-21F58D7E33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94401" y="3873031"/>
            <a:ext cx="5826124" cy="369332"/>
          </a:xfrm>
        </p:spPr>
        <p:txBody>
          <a:bodyPr/>
          <a:lstStyle/>
          <a:p>
            <a:r>
              <a:rPr lang="en-US"/>
              <a:t>Create professional slides faster</a:t>
            </a:r>
            <a:endParaRPr lang="en-US" noProof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774D7DF-6F49-0C83-EA25-274F8F8969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hink-cell | 2025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35669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CBC4D8A8-96F1-2298-C0BF-A1A7F80BA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E7DA7AD-D379-C715-96F3-CADA422628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1037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7DA7AD-D379-C715-96F3-CADA422628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6" name="Slide Zoom 5">
                <a:extLst>
                  <a:ext uri="{FF2B5EF4-FFF2-40B4-BE49-F238E27FC236}">
                    <a16:creationId xmlns:a16="http://schemas.microsoft.com/office/drawing/2014/main" id="{05DD1A48-C14D-E2F3-8A71-02222A63888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209453773"/>
                  </p:ext>
                </p:extLst>
              </p:nvPr>
            </p:nvGraphicFramePr>
            <p:xfrm>
              <a:off x="6274191" y="1974214"/>
              <a:ext cx="2151063" cy="1211263"/>
            </p:xfrm>
            <a:graphic>
              <a:graphicData uri="http://schemas.microsoft.com/office/powerpoint/2016/slidezoom">
                <pslz:sldZm>
                  <pslz:sldZmObj sldId="2147473322" cId="1726420206">
                    <pslz:zmPr id="{C95B206E-0195-43B3-891A-B361173B34AE}" returnToParent="0" transitionDur="10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1063" cy="1211263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6" name="Slide Zoom 5">
                <a:hlinkClick r:id="rId7" action="ppaction://hlinksldjump"/>
                <a:extLst>
                  <a:ext uri="{FF2B5EF4-FFF2-40B4-BE49-F238E27FC236}">
                    <a16:creationId xmlns:a16="http://schemas.microsoft.com/office/drawing/2014/main" id="{05DD1A48-C14D-E2F3-8A71-02222A63888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274191" y="1974214"/>
                <a:ext cx="2151063" cy="1211263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24" name="Slide Zoom 23">
                <a:extLst>
                  <a:ext uri="{FF2B5EF4-FFF2-40B4-BE49-F238E27FC236}">
                    <a16:creationId xmlns:a16="http://schemas.microsoft.com/office/drawing/2014/main" id="{EF385C83-8167-F9EC-8957-0508C9B414A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967124211"/>
                  </p:ext>
                </p:extLst>
              </p:nvPr>
            </p:nvGraphicFramePr>
            <p:xfrm>
              <a:off x="6274191" y="3410426"/>
              <a:ext cx="2151063" cy="1211263"/>
            </p:xfrm>
            <a:graphic>
              <a:graphicData uri="http://schemas.microsoft.com/office/powerpoint/2016/slidezoom">
                <pslz:sldZm>
                  <pslz:sldZmObj sldId="2147473320" cId="747478789">
                    <pslz:zmPr id="{48A771FE-5909-4591-9D94-7253133AB9D7}" returnToParent="0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1063" cy="1211263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24" name="Slide Zoom 23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EF385C83-8167-F9EC-8957-0508C9B414A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274191" y="3410426"/>
                <a:ext cx="2151063" cy="1211263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26" name="Slide Zoom 25">
                <a:extLst>
                  <a:ext uri="{FF2B5EF4-FFF2-40B4-BE49-F238E27FC236}">
                    <a16:creationId xmlns:a16="http://schemas.microsoft.com/office/drawing/2014/main" id="{DED7DD87-196B-F1A8-8EAD-A4D51A8C14D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98862769"/>
                  </p:ext>
                </p:extLst>
              </p:nvPr>
            </p:nvGraphicFramePr>
            <p:xfrm>
              <a:off x="6274191" y="4846637"/>
              <a:ext cx="2151063" cy="1211263"/>
            </p:xfrm>
            <a:graphic>
              <a:graphicData uri="http://schemas.microsoft.com/office/powerpoint/2016/slidezoom">
                <pslz:sldZm>
                  <pslz:sldZmObj sldId="2147473323" cId="3612010430">
                    <pslz:zmPr id="{485FC688-5142-45E3-B908-CAE371A7185B}" returnToParent="0" transitionDur="100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1063" cy="1211263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26" name="Slide Zoom 25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DED7DD87-196B-F1A8-8EAD-A4D51A8C14D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274191" y="4846637"/>
                <a:ext cx="2151063" cy="1211263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2" name="Title 1">
            <a:extLst>
              <a:ext uri="{FF2B5EF4-FFF2-40B4-BE49-F238E27FC236}">
                <a16:creationId xmlns:a16="http://schemas.microsoft.com/office/drawing/2014/main" id="{1DF95032-9D20-3A48-EC0E-CEEC9A758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775597"/>
          </a:xfrm>
        </p:spPr>
        <p:txBody>
          <a:bodyPr vert="horz"/>
          <a:lstStyle/>
          <a:p>
            <a:r>
              <a:rPr lang="en-US" noProof="0"/>
              <a:t>You can use think-cell to update your roadmap template in seconds</a:t>
            </a:r>
          </a:p>
        </p:txBody>
      </p:sp>
      <p:grpSp>
        <p:nvGrpSpPr>
          <p:cNvPr id="8" name="tc_columnheader">
            <a:extLst>
              <a:ext uri="{FF2B5EF4-FFF2-40B4-BE49-F238E27FC236}">
                <a16:creationId xmlns:a16="http://schemas.microsoft.com/office/drawing/2014/main" id="{89334A30-B163-6225-882F-F222B14E5EA7}"/>
              </a:ext>
            </a:extLst>
          </p:cNvPr>
          <p:cNvGrpSpPr/>
          <p:nvPr/>
        </p:nvGrpSpPr>
        <p:grpSpPr>
          <a:xfrm>
            <a:off x="8813782" y="1557330"/>
            <a:ext cx="2539763" cy="318916"/>
            <a:chOff x="407988" y="1557338"/>
            <a:chExt cx="4557873" cy="318916"/>
          </a:xfrm>
        </p:grpSpPr>
        <p:sp>
          <p:nvSpPr>
            <p:cNvPr id="10" name="tc_columnhead">
              <a:extLst>
                <a:ext uri="{FF2B5EF4-FFF2-40B4-BE49-F238E27FC236}">
                  <a16:creationId xmlns:a16="http://schemas.microsoft.com/office/drawing/2014/main" id="{AF2916C4-6ADC-A9EA-0758-86373D107D9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4557873" cy="318916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72000" rtlCol="0" anchor="b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>
                  <a:solidFill>
                    <a:schemeClr val="tx1"/>
                  </a:solidFill>
                </a:rPr>
                <a:t>Get started with think-cell</a:t>
              </a:r>
            </a:p>
          </p:txBody>
        </p:sp>
        <p:cxnSp>
          <p:nvCxnSpPr>
            <p:cNvPr id="11" name="tc_columnheadline">
              <a:extLst>
                <a:ext uri="{FF2B5EF4-FFF2-40B4-BE49-F238E27FC236}">
                  <a16:creationId xmlns:a16="http://schemas.microsoft.com/office/drawing/2014/main" id="{23CAF469-8E8B-7825-4577-D70A6C054C82}"/>
                </a:ext>
              </a:extLst>
            </p:cNvPr>
            <p:cNvCxnSpPr>
              <a:cxnSpLocks/>
              <a:stCxn id="10" idx="4"/>
              <a:endCxn id="10" idx="6"/>
            </p:cNvCxnSpPr>
            <p:nvPr/>
          </p:nvCxnSpPr>
          <p:spPr>
            <a:xfrm>
              <a:off x="407988" y="1876254"/>
              <a:ext cx="4557873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tc_columnheader">
            <a:extLst>
              <a:ext uri="{FF2B5EF4-FFF2-40B4-BE49-F238E27FC236}">
                <a16:creationId xmlns:a16="http://schemas.microsoft.com/office/drawing/2014/main" id="{D00C3538-3E45-8C04-922E-C6CB2C5C257D}"/>
              </a:ext>
            </a:extLst>
          </p:cNvPr>
          <p:cNvGrpSpPr/>
          <p:nvPr/>
        </p:nvGrpSpPr>
        <p:grpSpPr>
          <a:xfrm>
            <a:off x="407988" y="1557338"/>
            <a:ext cx="5576400" cy="318924"/>
            <a:chOff x="407988" y="1557338"/>
            <a:chExt cx="5576400" cy="318924"/>
          </a:xfrm>
        </p:grpSpPr>
        <p:sp>
          <p:nvSpPr>
            <p:cNvPr id="13" name="tc_columnhead">
              <a:extLst>
                <a:ext uri="{FF2B5EF4-FFF2-40B4-BE49-F238E27FC236}">
                  <a16:creationId xmlns:a16="http://schemas.microsoft.com/office/drawing/2014/main" id="{3021B135-7F2D-BF0A-C0FF-0914B68B049D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318924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72000" rtlCol="0" anchor="b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>
                  <a:solidFill>
                    <a:schemeClr val="tx1"/>
                  </a:solidFill>
                </a:rPr>
                <a:t>How to use and adapt a roadmap template</a:t>
              </a:r>
            </a:p>
          </p:txBody>
        </p:sp>
        <p:cxnSp>
          <p:nvCxnSpPr>
            <p:cNvPr id="14" name="tc_columnheadline">
              <a:extLst>
                <a:ext uri="{FF2B5EF4-FFF2-40B4-BE49-F238E27FC236}">
                  <a16:creationId xmlns:a16="http://schemas.microsoft.com/office/drawing/2014/main" id="{9C75A979-4C81-5FB3-F1B5-BC964FC3DD67}"/>
                </a:ext>
              </a:extLst>
            </p:cNvPr>
            <p:cNvCxnSpPr>
              <a:cxnSpLocks/>
              <a:stCxn id="13" idx="4"/>
              <a:endCxn id="13" idx="6"/>
            </p:cNvCxnSpPr>
            <p:nvPr/>
          </p:nvCxnSpPr>
          <p:spPr>
            <a:xfrm>
              <a:off x="407988" y="1876262"/>
              <a:ext cx="5576400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5CCE8C0-F765-6D44-A3D9-6902B69EB3B8}"/>
              </a:ext>
            </a:extLst>
          </p:cNvPr>
          <p:cNvSpPr txBox="1">
            <a:spLocks/>
          </p:cNvSpPr>
          <p:nvPr/>
        </p:nvSpPr>
        <p:spPr>
          <a:xfrm>
            <a:off x="407988" y="1975337"/>
            <a:ext cx="5576400" cy="36317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Start with the most suitable roadmap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Choose from the three provided templates and add the one you need to your presentation.</a:t>
            </a:r>
          </a:p>
          <a:p>
            <a:pPr marL="0" lvl="1" indent="0">
              <a:buNone/>
            </a:pPr>
            <a:endParaRPr lang="en-US" sz="1200" b="1" dirty="0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Apply your corporate identity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Use your brand colors for texts and elements at different levels, such as headlines, copy, and shape outlines. </a:t>
            </a:r>
          </a:p>
          <a:p>
            <a:pPr marL="0" indent="0">
              <a:buNone/>
            </a:pPr>
            <a:endParaRPr lang="en-US" b="1" dirty="0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Populate the road map with your information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Add milestones, dates, summaries, and swap out icons to match the projects on your roadmap. </a:t>
            </a:r>
          </a:p>
          <a:p>
            <a:pPr marL="0" lvl="1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Use think-cell for faster slide editing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Get a free 30-day think-cell trial to access tools that help you easily align and resize objects for polished layouts.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BB3C6E-1FFB-FE84-7E09-6D1B3901656B}"/>
              </a:ext>
            </a:extLst>
          </p:cNvPr>
          <p:cNvSpPr txBox="1">
            <a:spLocks/>
          </p:cNvSpPr>
          <p:nvPr/>
        </p:nvSpPr>
        <p:spPr>
          <a:xfrm>
            <a:off x="8826500" y="1975337"/>
            <a:ext cx="2994025" cy="2646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5000"/>
              </a:lnSpc>
            </a:pPr>
            <a:r>
              <a:rPr lang="en-US"/>
              <a:t>Create professional charts and data-driven tables.</a:t>
            </a:r>
          </a:p>
          <a:p>
            <a:pPr>
              <a:lnSpc>
                <a:spcPct val="125000"/>
              </a:lnSpc>
            </a:pPr>
            <a:r>
              <a:rPr lang="en-US"/>
              <a:t>Deliver impactful presentations faster.</a:t>
            </a:r>
          </a:p>
          <a:p>
            <a:pPr>
              <a:lnSpc>
                <a:spcPct val="125000"/>
              </a:lnSpc>
            </a:pPr>
            <a:r>
              <a:rPr lang="en-US"/>
              <a:t>Try for 30 days, no credit card required and no cancellation necessary.</a:t>
            </a:r>
          </a:p>
          <a:p>
            <a:pPr marL="0" indent="0">
              <a:buNone/>
            </a:pPr>
            <a:endParaRPr lang="en-US"/>
          </a:p>
          <a:p>
            <a:endParaRPr lang="en-US"/>
          </a:p>
        </p:txBody>
      </p:sp>
      <p:sp>
        <p:nvSpPr>
          <p:cNvPr id="104" name="Text Placeholder 10">
            <a:extLst>
              <a:ext uri="{FF2B5EF4-FFF2-40B4-BE49-F238E27FC236}">
                <a16:creationId xmlns:a16="http://schemas.microsoft.com/office/drawing/2014/main" id="{DDD08A4D-1C90-061D-446D-D10837B95788}"/>
              </a:ext>
            </a:extLst>
          </p:cNvPr>
          <p:cNvSpPr/>
          <p:nvPr/>
        </p:nvSpPr>
        <p:spPr>
          <a:xfrm>
            <a:off x="407987" y="1165515"/>
            <a:ext cx="4424288" cy="27699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spAutoFit/>
          </a:bodyPr>
          <a:lstStyle/>
          <a:p>
            <a:pPr>
              <a:spcAft>
                <a:spcPts val="110"/>
              </a:spcAft>
            </a:pPr>
            <a:r>
              <a:rPr lang="en-US" b="1" noProof="0">
                <a:solidFill>
                  <a:schemeClr val="accent1"/>
                </a:solidFill>
                <a:latin typeface="Arial" panose="020B0604020202020204" pitchFamily="34" charset="0"/>
              </a:rPr>
              <a:t>Guide to using think-cell slide template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23B438D-55D8-D2C7-8ED2-967E2FD22E43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07988" y="5717136"/>
            <a:ext cx="1647276" cy="340764"/>
            <a:chOff x="407988" y="5717136"/>
            <a:chExt cx="1647276" cy="340764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C4DA23CF-1B92-24AB-2E89-3A7BAD916D2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07988" y="5719530"/>
              <a:ext cx="1635143" cy="338370"/>
            </a:xfrm>
            <a:prstGeom prst="rect">
              <a:avLst/>
            </a:prstGeom>
            <a:solidFill>
              <a:srgbClr val="E9163C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r>
                <a:rPr lang="en-US" sz="1100">
                  <a:solidFill>
                    <a:schemeClr val="bg1"/>
                  </a:solidFill>
                </a:rPr>
                <a:t>Start free trial</a:t>
              </a: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12A1F592-370A-937B-A9B7-323B070D4D4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flipH="1">
              <a:off x="1637316" y="5719531"/>
              <a:ext cx="408180" cy="338369"/>
            </a:xfrm>
            <a:custGeom>
              <a:avLst/>
              <a:gdLst>
                <a:gd name="connsiteX0" fmla="*/ 0 w 5446800"/>
                <a:gd name="connsiteY0" fmla="*/ 0 h 4515223"/>
                <a:gd name="connsiteX1" fmla="*/ 3601911 w 5446800"/>
                <a:gd name="connsiteY1" fmla="*/ 0 h 4515223"/>
                <a:gd name="connsiteX2" fmla="*/ 5446800 w 5446800"/>
                <a:gd name="connsiteY2" fmla="*/ 4515223 h 4515223"/>
                <a:gd name="connsiteX3" fmla="*/ 0 w 5446800"/>
                <a:gd name="connsiteY3" fmla="*/ 4515223 h 451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46800" h="4515223">
                  <a:moveTo>
                    <a:pt x="0" y="0"/>
                  </a:moveTo>
                  <a:lnTo>
                    <a:pt x="3601911" y="0"/>
                  </a:lnTo>
                  <a:lnTo>
                    <a:pt x="5446800" y="4515223"/>
                  </a:lnTo>
                  <a:lnTo>
                    <a:pt x="0" y="4515223"/>
                  </a:lnTo>
                  <a:close/>
                </a:path>
              </a:pathLst>
            </a:custGeom>
            <a:solidFill>
              <a:srgbClr val="D21436"/>
            </a:solidFill>
            <a:ln w="340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92" name="Gleichschenkliges Dreieck 15">
              <a:extLst>
                <a:ext uri="{FF2B5EF4-FFF2-40B4-BE49-F238E27FC236}">
                  <a16:creationId xmlns:a16="http://schemas.microsoft.com/office/drawing/2014/main" id="{41C541EF-2A65-889E-38DB-398558397B7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rot="5400000">
              <a:off x="1853711" y="5858701"/>
              <a:ext cx="111621" cy="60028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hlinkClick r:id="rId12" highlightClick="1"/>
              <a:extLst>
                <a:ext uri="{FF2B5EF4-FFF2-40B4-BE49-F238E27FC236}">
                  <a16:creationId xmlns:a16="http://schemas.microsoft.com/office/drawing/2014/main" id="{65EA21CE-B099-E4F6-27DD-6EF9988F8C8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07988" y="5717136"/>
              <a:ext cx="1647276" cy="3407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endParaRPr lang="en-US" sz="140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8F695E4-6B97-0233-76BE-A21A8C3AEB35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813782" y="4283845"/>
            <a:ext cx="1637508" cy="341495"/>
            <a:chOff x="8813782" y="4283845"/>
            <a:chExt cx="1637508" cy="341495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0194EC3-55D5-5F4A-9E87-358CC2A4217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813782" y="4283845"/>
              <a:ext cx="1635143" cy="338370"/>
            </a:xfrm>
            <a:prstGeom prst="rect">
              <a:avLst/>
            </a:prstGeom>
            <a:solidFill>
              <a:srgbClr val="E9163C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r>
                <a:rPr lang="en-US" sz="1100">
                  <a:solidFill>
                    <a:schemeClr val="bg1"/>
                  </a:solidFill>
                </a:rPr>
                <a:t>Start free trial</a:t>
              </a: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B3DD0C8-BB04-2574-C4BC-6AD0ECE7F6E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flipH="1">
              <a:off x="10043110" y="4283846"/>
              <a:ext cx="408180" cy="338369"/>
            </a:xfrm>
            <a:custGeom>
              <a:avLst/>
              <a:gdLst>
                <a:gd name="connsiteX0" fmla="*/ 0 w 5446800"/>
                <a:gd name="connsiteY0" fmla="*/ 0 h 4515223"/>
                <a:gd name="connsiteX1" fmla="*/ 3601911 w 5446800"/>
                <a:gd name="connsiteY1" fmla="*/ 0 h 4515223"/>
                <a:gd name="connsiteX2" fmla="*/ 5446800 w 5446800"/>
                <a:gd name="connsiteY2" fmla="*/ 4515223 h 4515223"/>
                <a:gd name="connsiteX3" fmla="*/ 0 w 5446800"/>
                <a:gd name="connsiteY3" fmla="*/ 4515223 h 451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46800" h="4515223">
                  <a:moveTo>
                    <a:pt x="0" y="0"/>
                  </a:moveTo>
                  <a:lnTo>
                    <a:pt x="3601911" y="0"/>
                  </a:lnTo>
                  <a:lnTo>
                    <a:pt x="5446800" y="4515223"/>
                  </a:lnTo>
                  <a:lnTo>
                    <a:pt x="0" y="4515223"/>
                  </a:lnTo>
                  <a:close/>
                </a:path>
              </a:pathLst>
            </a:custGeom>
            <a:solidFill>
              <a:srgbClr val="D21436"/>
            </a:solidFill>
            <a:ln w="340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84" name="Gleichschenkliges Dreieck 15">
              <a:extLst>
                <a:ext uri="{FF2B5EF4-FFF2-40B4-BE49-F238E27FC236}">
                  <a16:creationId xmlns:a16="http://schemas.microsoft.com/office/drawing/2014/main" id="{DB0C839B-E95B-D219-440C-074FDB5413C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rot="5400000">
              <a:off x="10259505" y="4423016"/>
              <a:ext cx="111621" cy="60028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hlinkClick r:id="rId12" highlightClick="1"/>
              <a:extLst>
                <a:ext uri="{FF2B5EF4-FFF2-40B4-BE49-F238E27FC236}">
                  <a16:creationId xmlns:a16="http://schemas.microsoft.com/office/drawing/2014/main" id="{47046822-CE5D-1586-B6FD-DC41CD76933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816114" y="4284576"/>
              <a:ext cx="1634172" cy="3407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endParaRPr lang="en-US" sz="14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77191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0CB376E1-CF32-63B2-C449-251E919828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6FC581D-2417-A490-63A4-18384E720F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FC581D-2417-A490-63A4-18384E720F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937D32A-3B0D-3AD9-4FF3-5CD1009BA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</p:spPr>
        <p:txBody>
          <a:bodyPr vert="horz"/>
          <a:lstStyle/>
          <a:p>
            <a:r>
              <a:rPr lang="en-US" dirty="0"/>
              <a:t>Road map</a:t>
            </a:r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7A40A91B-85FA-C57C-2881-B3606A8A316E}"/>
              </a:ext>
            </a:extLst>
          </p:cNvPr>
          <p:cNvGrpSpPr>
            <a:grpSpLocks/>
          </p:cNvGrpSpPr>
          <p:nvPr/>
        </p:nvGrpSpPr>
        <p:grpSpPr>
          <a:xfrm>
            <a:off x="407988" y="1563945"/>
            <a:ext cx="11053430" cy="4493955"/>
            <a:chOff x="1586" y="1550196"/>
            <a:chExt cx="11818939" cy="4976234"/>
          </a:xfrm>
        </p:grpSpPr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CE2A39AE-0EA6-7011-6D8F-E63F37781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550196"/>
              <a:ext cx="11818938" cy="4976233"/>
            </a:xfrm>
            <a:custGeom>
              <a:avLst/>
              <a:gdLst>
                <a:gd name="connsiteX0" fmla="*/ 0 w 11804048"/>
                <a:gd name="connsiteY0" fmla="*/ 0 h 4989102"/>
                <a:gd name="connsiteX1" fmla="*/ 2470484 w 11804048"/>
                <a:gd name="connsiteY1" fmla="*/ 0 h 4989102"/>
                <a:gd name="connsiteX2" fmla="*/ 2931171 w 11804048"/>
                <a:gd name="connsiteY2" fmla="*/ 4048 h 4989102"/>
                <a:gd name="connsiteX3" fmla="*/ 6192260 w 11804048"/>
                <a:gd name="connsiteY3" fmla="*/ 249741 h 4989102"/>
                <a:gd name="connsiteX4" fmla="*/ 7564593 w 11804048"/>
                <a:gd name="connsiteY4" fmla="*/ 558199 h 4989102"/>
                <a:gd name="connsiteX5" fmla="*/ 8111411 w 11804048"/>
                <a:gd name="connsiteY5" fmla="*/ 994008 h 4989102"/>
                <a:gd name="connsiteX6" fmla="*/ 7998011 w 11804048"/>
                <a:gd name="connsiteY6" fmla="*/ 1181248 h 4989102"/>
                <a:gd name="connsiteX7" fmla="*/ 7704421 w 11804048"/>
                <a:gd name="connsiteY7" fmla="*/ 1321947 h 4989102"/>
                <a:gd name="connsiteX8" fmla="*/ 6816921 w 11804048"/>
                <a:gd name="connsiteY8" fmla="*/ 1530472 h 4989102"/>
                <a:gd name="connsiteX9" fmla="*/ 5448433 w 11804048"/>
                <a:gd name="connsiteY9" fmla="*/ 2106982 h 4989102"/>
                <a:gd name="connsiteX10" fmla="*/ 5977954 w 11804048"/>
                <a:gd name="connsiteY10" fmla="*/ 2336792 h 4989102"/>
                <a:gd name="connsiteX11" fmla="*/ 7286859 w 11804048"/>
                <a:gd name="connsiteY11" fmla="*/ 2591856 h 4989102"/>
                <a:gd name="connsiteX12" fmla="*/ 9458757 w 11804048"/>
                <a:gd name="connsiteY12" fmla="*/ 3031273 h 4989102"/>
                <a:gd name="connsiteX13" fmla="*/ 11069902 w 11804048"/>
                <a:gd name="connsiteY13" fmla="*/ 3671639 h 4989102"/>
                <a:gd name="connsiteX14" fmla="*/ 11575878 w 11804048"/>
                <a:gd name="connsiteY14" fmla="*/ 4217483 h 4989102"/>
                <a:gd name="connsiteX15" fmla="*/ 11776250 w 11804048"/>
                <a:gd name="connsiteY15" fmla="*/ 4677103 h 4989102"/>
                <a:gd name="connsiteX16" fmla="*/ 11803954 w 11804048"/>
                <a:gd name="connsiteY16" fmla="*/ 4928562 h 4989102"/>
                <a:gd name="connsiteX17" fmla="*/ 11800968 w 11804048"/>
                <a:gd name="connsiteY17" fmla="*/ 4989102 h 4989102"/>
                <a:gd name="connsiteX18" fmla="*/ 9480312 w 11804048"/>
                <a:gd name="connsiteY18" fmla="*/ 4989102 h 4989102"/>
                <a:gd name="connsiteX19" fmla="*/ 9473653 w 11804048"/>
                <a:gd name="connsiteY19" fmla="*/ 4566347 h 4989102"/>
                <a:gd name="connsiteX20" fmla="*/ 9259827 w 11804048"/>
                <a:gd name="connsiteY20" fmla="*/ 4105284 h 4989102"/>
                <a:gd name="connsiteX21" fmla="*/ 8687061 w 11804048"/>
                <a:gd name="connsiteY21" fmla="*/ 3706994 h 4989102"/>
                <a:gd name="connsiteX22" fmla="*/ 6827493 w 11804048"/>
                <a:gd name="connsiteY22" fmla="*/ 3277679 h 4989102"/>
                <a:gd name="connsiteX23" fmla="*/ 4576790 w 11804048"/>
                <a:gd name="connsiteY23" fmla="*/ 2777652 h 4989102"/>
                <a:gd name="connsiteX24" fmla="*/ 3783470 w 11804048"/>
                <a:gd name="connsiteY24" fmla="*/ 2456567 h 4989102"/>
                <a:gd name="connsiteX25" fmla="*/ 3471621 w 11804048"/>
                <a:gd name="connsiteY25" fmla="*/ 2060443 h 4989102"/>
                <a:gd name="connsiteX26" fmla="*/ 4040063 w 11804048"/>
                <a:gd name="connsiteY26" fmla="*/ 1501972 h 4989102"/>
                <a:gd name="connsiteX27" fmla="*/ 5174543 w 11804048"/>
                <a:gd name="connsiteY27" fmla="*/ 1228508 h 4989102"/>
                <a:gd name="connsiteX28" fmla="*/ 6135560 w 11804048"/>
                <a:gd name="connsiteY28" fmla="*/ 891189 h 4989102"/>
                <a:gd name="connsiteX29" fmla="*/ 5983239 w 11804048"/>
                <a:gd name="connsiteY29" fmla="*/ 758787 h 4989102"/>
                <a:gd name="connsiteX30" fmla="*/ 5566157 w 11804048"/>
                <a:gd name="connsiteY30" fmla="*/ 642619 h 4989102"/>
                <a:gd name="connsiteX31" fmla="*/ 4293290 w 11804048"/>
                <a:gd name="connsiteY31" fmla="*/ 475583 h 4989102"/>
                <a:gd name="connsiteX32" fmla="*/ 2483701 w 11804048"/>
                <a:gd name="connsiteY32" fmla="*/ 360056 h 4989102"/>
                <a:gd name="connsiteX33" fmla="*/ 2470484 w 11804048"/>
                <a:gd name="connsiteY33" fmla="*/ 359542 h 4989102"/>
                <a:gd name="connsiteX34" fmla="*/ 2470484 w 11804048"/>
                <a:gd name="connsiteY34" fmla="*/ 360362 h 4989102"/>
                <a:gd name="connsiteX35" fmla="*/ 0 w 11804048"/>
                <a:gd name="connsiteY35" fmla="*/ 360362 h 4989102"/>
                <a:gd name="connsiteX0" fmla="*/ 0 w 11804048"/>
                <a:gd name="connsiteY0" fmla="*/ 0 h 4989102"/>
                <a:gd name="connsiteX1" fmla="*/ 2470484 w 11804048"/>
                <a:gd name="connsiteY1" fmla="*/ 0 h 4989102"/>
                <a:gd name="connsiteX2" fmla="*/ 2931171 w 11804048"/>
                <a:gd name="connsiteY2" fmla="*/ 4048 h 4989102"/>
                <a:gd name="connsiteX3" fmla="*/ 6192260 w 11804048"/>
                <a:gd name="connsiteY3" fmla="*/ 249741 h 4989102"/>
                <a:gd name="connsiteX4" fmla="*/ 7564593 w 11804048"/>
                <a:gd name="connsiteY4" fmla="*/ 558199 h 4989102"/>
                <a:gd name="connsiteX5" fmla="*/ 8111411 w 11804048"/>
                <a:gd name="connsiteY5" fmla="*/ 994008 h 4989102"/>
                <a:gd name="connsiteX6" fmla="*/ 7998011 w 11804048"/>
                <a:gd name="connsiteY6" fmla="*/ 1181248 h 4989102"/>
                <a:gd name="connsiteX7" fmla="*/ 7704421 w 11804048"/>
                <a:gd name="connsiteY7" fmla="*/ 1321947 h 4989102"/>
                <a:gd name="connsiteX8" fmla="*/ 6816921 w 11804048"/>
                <a:gd name="connsiteY8" fmla="*/ 1530472 h 4989102"/>
                <a:gd name="connsiteX9" fmla="*/ 5448433 w 11804048"/>
                <a:gd name="connsiteY9" fmla="*/ 2106982 h 4989102"/>
                <a:gd name="connsiteX10" fmla="*/ 5977954 w 11804048"/>
                <a:gd name="connsiteY10" fmla="*/ 2336792 h 4989102"/>
                <a:gd name="connsiteX11" fmla="*/ 7286859 w 11804048"/>
                <a:gd name="connsiteY11" fmla="*/ 2591856 h 4989102"/>
                <a:gd name="connsiteX12" fmla="*/ 9458757 w 11804048"/>
                <a:gd name="connsiteY12" fmla="*/ 3031273 h 4989102"/>
                <a:gd name="connsiteX13" fmla="*/ 11069902 w 11804048"/>
                <a:gd name="connsiteY13" fmla="*/ 3671639 h 4989102"/>
                <a:gd name="connsiteX14" fmla="*/ 11575878 w 11804048"/>
                <a:gd name="connsiteY14" fmla="*/ 4217483 h 4989102"/>
                <a:gd name="connsiteX15" fmla="*/ 11776250 w 11804048"/>
                <a:gd name="connsiteY15" fmla="*/ 4677103 h 4989102"/>
                <a:gd name="connsiteX16" fmla="*/ 11803954 w 11804048"/>
                <a:gd name="connsiteY16" fmla="*/ 4928562 h 4989102"/>
                <a:gd name="connsiteX17" fmla="*/ 11800968 w 11804048"/>
                <a:gd name="connsiteY17" fmla="*/ 4989102 h 4989102"/>
                <a:gd name="connsiteX18" fmla="*/ 9480312 w 11804048"/>
                <a:gd name="connsiteY18" fmla="*/ 4989102 h 4989102"/>
                <a:gd name="connsiteX19" fmla="*/ 9473653 w 11804048"/>
                <a:gd name="connsiteY19" fmla="*/ 4566347 h 4989102"/>
                <a:gd name="connsiteX20" fmla="*/ 9259827 w 11804048"/>
                <a:gd name="connsiteY20" fmla="*/ 4105284 h 4989102"/>
                <a:gd name="connsiteX21" fmla="*/ 8687061 w 11804048"/>
                <a:gd name="connsiteY21" fmla="*/ 3706994 h 4989102"/>
                <a:gd name="connsiteX22" fmla="*/ 6827493 w 11804048"/>
                <a:gd name="connsiteY22" fmla="*/ 3277679 h 4989102"/>
                <a:gd name="connsiteX23" fmla="*/ 4576790 w 11804048"/>
                <a:gd name="connsiteY23" fmla="*/ 2777652 h 4989102"/>
                <a:gd name="connsiteX24" fmla="*/ 3783470 w 11804048"/>
                <a:gd name="connsiteY24" fmla="*/ 2456567 h 4989102"/>
                <a:gd name="connsiteX25" fmla="*/ 3471621 w 11804048"/>
                <a:gd name="connsiteY25" fmla="*/ 2060443 h 4989102"/>
                <a:gd name="connsiteX26" fmla="*/ 4040063 w 11804048"/>
                <a:gd name="connsiteY26" fmla="*/ 1501972 h 4989102"/>
                <a:gd name="connsiteX27" fmla="*/ 5174543 w 11804048"/>
                <a:gd name="connsiteY27" fmla="*/ 1228508 h 4989102"/>
                <a:gd name="connsiteX28" fmla="*/ 6135560 w 11804048"/>
                <a:gd name="connsiteY28" fmla="*/ 891189 h 4989102"/>
                <a:gd name="connsiteX29" fmla="*/ 5983239 w 11804048"/>
                <a:gd name="connsiteY29" fmla="*/ 758787 h 4989102"/>
                <a:gd name="connsiteX30" fmla="*/ 5566157 w 11804048"/>
                <a:gd name="connsiteY30" fmla="*/ 642619 h 4989102"/>
                <a:gd name="connsiteX31" fmla="*/ 4293290 w 11804048"/>
                <a:gd name="connsiteY31" fmla="*/ 475583 h 4989102"/>
                <a:gd name="connsiteX32" fmla="*/ 2483701 w 11804048"/>
                <a:gd name="connsiteY32" fmla="*/ 360056 h 4989102"/>
                <a:gd name="connsiteX33" fmla="*/ 2470484 w 11804048"/>
                <a:gd name="connsiteY33" fmla="*/ 359542 h 4989102"/>
                <a:gd name="connsiteX34" fmla="*/ 0 w 11804048"/>
                <a:gd name="connsiteY34" fmla="*/ 360362 h 4989102"/>
                <a:gd name="connsiteX35" fmla="*/ 0 w 11804048"/>
                <a:gd name="connsiteY35" fmla="*/ 0 h 4989102"/>
                <a:gd name="connsiteX0" fmla="*/ 0 w 11804048"/>
                <a:gd name="connsiteY0" fmla="*/ 0 h 4989102"/>
                <a:gd name="connsiteX1" fmla="*/ 2470484 w 11804048"/>
                <a:gd name="connsiteY1" fmla="*/ 0 h 4989102"/>
                <a:gd name="connsiteX2" fmla="*/ 2931171 w 11804048"/>
                <a:gd name="connsiteY2" fmla="*/ 4048 h 4989102"/>
                <a:gd name="connsiteX3" fmla="*/ 6192260 w 11804048"/>
                <a:gd name="connsiteY3" fmla="*/ 249741 h 4989102"/>
                <a:gd name="connsiteX4" fmla="*/ 7564593 w 11804048"/>
                <a:gd name="connsiteY4" fmla="*/ 558199 h 4989102"/>
                <a:gd name="connsiteX5" fmla="*/ 8111411 w 11804048"/>
                <a:gd name="connsiteY5" fmla="*/ 994008 h 4989102"/>
                <a:gd name="connsiteX6" fmla="*/ 7998011 w 11804048"/>
                <a:gd name="connsiteY6" fmla="*/ 1181248 h 4989102"/>
                <a:gd name="connsiteX7" fmla="*/ 7704421 w 11804048"/>
                <a:gd name="connsiteY7" fmla="*/ 1321947 h 4989102"/>
                <a:gd name="connsiteX8" fmla="*/ 6816921 w 11804048"/>
                <a:gd name="connsiteY8" fmla="*/ 1530472 h 4989102"/>
                <a:gd name="connsiteX9" fmla="*/ 5448433 w 11804048"/>
                <a:gd name="connsiteY9" fmla="*/ 2106982 h 4989102"/>
                <a:gd name="connsiteX10" fmla="*/ 5977954 w 11804048"/>
                <a:gd name="connsiteY10" fmla="*/ 2336792 h 4989102"/>
                <a:gd name="connsiteX11" fmla="*/ 7286859 w 11804048"/>
                <a:gd name="connsiteY11" fmla="*/ 2591856 h 4989102"/>
                <a:gd name="connsiteX12" fmla="*/ 9458757 w 11804048"/>
                <a:gd name="connsiteY12" fmla="*/ 3031273 h 4989102"/>
                <a:gd name="connsiteX13" fmla="*/ 11069902 w 11804048"/>
                <a:gd name="connsiteY13" fmla="*/ 3671639 h 4989102"/>
                <a:gd name="connsiteX14" fmla="*/ 11575878 w 11804048"/>
                <a:gd name="connsiteY14" fmla="*/ 4217483 h 4989102"/>
                <a:gd name="connsiteX15" fmla="*/ 11776250 w 11804048"/>
                <a:gd name="connsiteY15" fmla="*/ 4677103 h 4989102"/>
                <a:gd name="connsiteX16" fmla="*/ 11803954 w 11804048"/>
                <a:gd name="connsiteY16" fmla="*/ 4928562 h 4989102"/>
                <a:gd name="connsiteX17" fmla="*/ 11800968 w 11804048"/>
                <a:gd name="connsiteY17" fmla="*/ 4989102 h 4989102"/>
                <a:gd name="connsiteX18" fmla="*/ 9480312 w 11804048"/>
                <a:gd name="connsiteY18" fmla="*/ 4989102 h 4989102"/>
                <a:gd name="connsiteX19" fmla="*/ 9473653 w 11804048"/>
                <a:gd name="connsiteY19" fmla="*/ 4566347 h 4989102"/>
                <a:gd name="connsiteX20" fmla="*/ 9259827 w 11804048"/>
                <a:gd name="connsiteY20" fmla="*/ 4105284 h 4989102"/>
                <a:gd name="connsiteX21" fmla="*/ 8687061 w 11804048"/>
                <a:gd name="connsiteY21" fmla="*/ 3706994 h 4989102"/>
                <a:gd name="connsiteX22" fmla="*/ 6827493 w 11804048"/>
                <a:gd name="connsiteY22" fmla="*/ 3277679 h 4989102"/>
                <a:gd name="connsiteX23" fmla="*/ 4576790 w 11804048"/>
                <a:gd name="connsiteY23" fmla="*/ 2777652 h 4989102"/>
                <a:gd name="connsiteX24" fmla="*/ 3783470 w 11804048"/>
                <a:gd name="connsiteY24" fmla="*/ 2456567 h 4989102"/>
                <a:gd name="connsiteX25" fmla="*/ 3471621 w 11804048"/>
                <a:gd name="connsiteY25" fmla="*/ 2060443 h 4989102"/>
                <a:gd name="connsiteX26" fmla="*/ 4040063 w 11804048"/>
                <a:gd name="connsiteY26" fmla="*/ 1501972 h 4989102"/>
                <a:gd name="connsiteX27" fmla="*/ 5174543 w 11804048"/>
                <a:gd name="connsiteY27" fmla="*/ 1228508 h 4989102"/>
                <a:gd name="connsiteX28" fmla="*/ 6135560 w 11804048"/>
                <a:gd name="connsiteY28" fmla="*/ 891189 h 4989102"/>
                <a:gd name="connsiteX29" fmla="*/ 5983239 w 11804048"/>
                <a:gd name="connsiteY29" fmla="*/ 758787 h 4989102"/>
                <a:gd name="connsiteX30" fmla="*/ 5566157 w 11804048"/>
                <a:gd name="connsiteY30" fmla="*/ 642619 h 4989102"/>
                <a:gd name="connsiteX31" fmla="*/ 4293290 w 11804048"/>
                <a:gd name="connsiteY31" fmla="*/ 475583 h 4989102"/>
                <a:gd name="connsiteX32" fmla="*/ 2483701 w 11804048"/>
                <a:gd name="connsiteY32" fmla="*/ 360056 h 4989102"/>
                <a:gd name="connsiteX33" fmla="*/ 0 w 11804048"/>
                <a:gd name="connsiteY33" fmla="*/ 360362 h 4989102"/>
                <a:gd name="connsiteX34" fmla="*/ 0 w 11804048"/>
                <a:gd name="connsiteY34" fmla="*/ 0 h 4989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1804048" h="4989102">
                  <a:moveTo>
                    <a:pt x="0" y="0"/>
                  </a:moveTo>
                  <a:lnTo>
                    <a:pt x="2470484" y="0"/>
                  </a:lnTo>
                  <a:lnTo>
                    <a:pt x="2931171" y="4048"/>
                  </a:lnTo>
                  <a:cubicBezTo>
                    <a:pt x="4085463" y="24074"/>
                    <a:pt x="5274428" y="112739"/>
                    <a:pt x="6192260" y="249741"/>
                  </a:cubicBezTo>
                  <a:cubicBezTo>
                    <a:pt x="6778962" y="337047"/>
                    <a:pt x="7240249" y="440949"/>
                    <a:pt x="7564593" y="558199"/>
                  </a:cubicBezTo>
                  <a:cubicBezTo>
                    <a:pt x="7927857" y="689519"/>
                    <a:pt x="8111411" y="835991"/>
                    <a:pt x="8111411" y="994008"/>
                  </a:cubicBezTo>
                  <a:cubicBezTo>
                    <a:pt x="8111411" y="1061833"/>
                    <a:pt x="8073451" y="1124968"/>
                    <a:pt x="7998011" y="1181248"/>
                  </a:cubicBezTo>
                  <a:cubicBezTo>
                    <a:pt x="7931221" y="1231395"/>
                    <a:pt x="7835119" y="1277573"/>
                    <a:pt x="7704421" y="1321947"/>
                  </a:cubicBezTo>
                  <a:cubicBezTo>
                    <a:pt x="7463686" y="1403482"/>
                    <a:pt x="7135499" y="1468059"/>
                    <a:pt x="6816921" y="1530472"/>
                  </a:cubicBezTo>
                  <a:cubicBezTo>
                    <a:pt x="6144209" y="1662875"/>
                    <a:pt x="5448433" y="1798885"/>
                    <a:pt x="5448433" y="2106982"/>
                  </a:cubicBezTo>
                  <a:cubicBezTo>
                    <a:pt x="5448433" y="2175889"/>
                    <a:pt x="5621416" y="2250929"/>
                    <a:pt x="5977954" y="2336792"/>
                  </a:cubicBezTo>
                  <a:cubicBezTo>
                    <a:pt x="6310946" y="2416522"/>
                    <a:pt x="6763105" y="2498056"/>
                    <a:pt x="7286859" y="2591856"/>
                  </a:cubicBezTo>
                  <a:cubicBezTo>
                    <a:pt x="7980232" y="2715960"/>
                    <a:pt x="8765863" y="2857382"/>
                    <a:pt x="9458757" y="3031273"/>
                  </a:cubicBezTo>
                  <a:cubicBezTo>
                    <a:pt x="10260726" y="3233304"/>
                    <a:pt x="10787844" y="3442550"/>
                    <a:pt x="11069902" y="3671639"/>
                  </a:cubicBezTo>
                  <a:cubicBezTo>
                    <a:pt x="11283729" y="3845169"/>
                    <a:pt x="11453829" y="4028800"/>
                    <a:pt x="11575878" y="4217483"/>
                  </a:cubicBezTo>
                  <a:cubicBezTo>
                    <a:pt x="11673902" y="4368284"/>
                    <a:pt x="11741173" y="4523055"/>
                    <a:pt x="11776250" y="4677103"/>
                  </a:cubicBezTo>
                  <a:cubicBezTo>
                    <a:pt x="11798594" y="4775458"/>
                    <a:pt x="11804923" y="4860419"/>
                    <a:pt x="11803954" y="4928562"/>
                  </a:cubicBezTo>
                  <a:lnTo>
                    <a:pt x="11800968" y="4989102"/>
                  </a:lnTo>
                  <a:lnTo>
                    <a:pt x="9480312" y="4989102"/>
                  </a:lnTo>
                  <a:lnTo>
                    <a:pt x="9473653" y="4566347"/>
                  </a:lnTo>
                  <a:cubicBezTo>
                    <a:pt x="9439537" y="4394260"/>
                    <a:pt x="9367941" y="4238769"/>
                    <a:pt x="9259827" y="4105284"/>
                  </a:cubicBezTo>
                  <a:cubicBezTo>
                    <a:pt x="9124323" y="3938248"/>
                    <a:pt x="8931639" y="3804402"/>
                    <a:pt x="8687061" y="3706994"/>
                  </a:cubicBezTo>
                  <a:cubicBezTo>
                    <a:pt x="8322835" y="3562326"/>
                    <a:pt x="7595826" y="3424151"/>
                    <a:pt x="6827493" y="3277679"/>
                  </a:cubicBezTo>
                  <a:cubicBezTo>
                    <a:pt x="6075016" y="3134092"/>
                    <a:pt x="5222113" y="2971746"/>
                    <a:pt x="4576790" y="2777652"/>
                  </a:cubicBezTo>
                  <a:cubicBezTo>
                    <a:pt x="4225538" y="2671946"/>
                    <a:pt x="3966064" y="2566963"/>
                    <a:pt x="3783470" y="2456567"/>
                  </a:cubicBezTo>
                  <a:cubicBezTo>
                    <a:pt x="3576371" y="2331381"/>
                    <a:pt x="3471621" y="2197896"/>
                    <a:pt x="3471621" y="2060443"/>
                  </a:cubicBezTo>
                  <a:cubicBezTo>
                    <a:pt x="3471621" y="1829550"/>
                    <a:pt x="3657577" y="1647001"/>
                    <a:pt x="4040063" y="1501972"/>
                  </a:cubicBezTo>
                  <a:cubicBezTo>
                    <a:pt x="4369210" y="1377145"/>
                    <a:pt x="4796863" y="1298137"/>
                    <a:pt x="5174543" y="1228508"/>
                  </a:cubicBezTo>
                  <a:cubicBezTo>
                    <a:pt x="5690129" y="1133265"/>
                    <a:pt x="6135560" y="1051010"/>
                    <a:pt x="6135560" y="891189"/>
                  </a:cubicBezTo>
                  <a:cubicBezTo>
                    <a:pt x="6135560" y="846093"/>
                    <a:pt x="6084146" y="801718"/>
                    <a:pt x="5983239" y="758787"/>
                  </a:cubicBezTo>
                  <a:cubicBezTo>
                    <a:pt x="5888099" y="718741"/>
                    <a:pt x="5747790" y="679417"/>
                    <a:pt x="5566157" y="642619"/>
                  </a:cubicBezTo>
                  <a:cubicBezTo>
                    <a:pt x="5259112" y="580927"/>
                    <a:pt x="4830979" y="524287"/>
                    <a:pt x="4293290" y="475583"/>
                  </a:cubicBezTo>
                  <a:cubicBezTo>
                    <a:pt x="3491081" y="402662"/>
                    <a:pt x="2680043" y="367859"/>
                    <a:pt x="2483701" y="360056"/>
                  </a:cubicBezTo>
                  <a:lnTo>
                    <a:pt x="0" y="3603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accent6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199E3CCC-FE20-A88E-B69F-BCC9BD727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6" y="1909324"/>
              <a:ext cx="9492271" cy="4617106"/>
            </a:xfrm>
            <a:custGeom>
              <a:avLst/>
              <a:gdLst>
                <a:gd name="connsiteX0" fmla="*/ 0 w 11804048"/>
                <a:gd name="connsiteY0" fmla="*/ 0 h 4989102"/>
                <a:gd name="connsiteX1" fmla="*/ 2470484 w 11804048"/>
                <a:gd name="connsiteY1" fmla="*/ 0 h 4989102"/>
                <a:gd name="connsiteX2" fmla="*/ 2931171 w 11804048"/>
                <a:gd name="connsiteY2" fmla="*/ 4048 h 4989102"/>
                <a:gd name="connsiteX3" fmla="*/ 6192260 w 11804048"/>
                <a:gd name="connsiteY3" fmla="*/ 249741 h 4989102"/>
                <a:gd name="connsiteX4" fmla="*/ 7564593 w 11804048"/>
                <a:gd name="connsiteY4" fmla="*/ 558199 h 4989102"/>
                <a:gd name="connsiteX5" fmla="*/ 8111411 w 11804048"/>
                <a:gd name="connsiteY5" fmla="*/ 994008 h 4989102"/>
                <a:gd name="connsiteX6" fmla="*/ 7998011 w 11804048"/>
                <a:gd name="connsiteY6" fmla="*/ 1181248 h 4989102"/>
                <a:gd name="connsiteX7" fmla="*/ 7704421 w 11804048"/>
                <a:gd name="connsiteY7" fmla="*/ 1321947 h 4989102"/>
                <a:gd name="connsiteX8" fmla="*/ 6816921 w 11804048"/>
                <a:gd name="connsiteY8" fmla="*/ 1530472 h 4989102"/>
                <a:gd name="connsiteX9" fmla="*/ 5448433 w 11804048"/>
                <a:gd name="connsiteY9" fmla="*/ 2106982 h 4989102"/>
                <a:gd name="connsiteX10" fmla="*/ 5977954 w 11804048"/>
                <a:gd name="connsiteY10" fmla="*/ 2336792 h 4989102"/>
                <a:gd name="connsiteX11" fmla="*/ 7286859 w 11804048"/>
                <a:gd name="connsiteY11" fmla="*/ 2591856 h 4989102"/>
                <a:gd name="connsiteX12" fmla="*/ 9458757 w 11804048"/>
                <a:gd name="connsiteY12" fmla="*/ 3031273 h 4989102"/>
                <a:gd name="connsiteX13" fmla="*/ 11069902 w 11804048"/>
                <a:gd name="connsiteY13" fmla="*/ 3671639 h 4989102"/>
                <a:gd name="connsiteX14" fmla="*/ 11575878 w 11804048"/>
                <a:gd name="connsiteY14" fmla="*/ 4217483 h 4989102"/>
                <a:gd name="connsiteX15" fmla="*/ 11776250 w 11804048"/>
                <a:gd name="connsiteY15" fmla="*/ 4677103 h 4989102"/>
                <a:gd name="connsiteX16" fmla="*/ 11803954 w 11804048"/>
                <a:gd name="connsiteY16" fmla="*/ 4928562 h 4989102"/>
                <a:gd name="connsiteX17" fmla="*/ 11800968 w 11804048"/>
                <a:gd name="connsiteY17" fmla="*/ 4989102 h 4989102"/>
                <a:gd name="connsiteX18" fmla="*/ 9480312 w 11804048"/>
                <a:gd name="connsiteY18" fmla="*/ 4989102 h 4989102"/>
                <a:gd name="connsiteX19" fmla="*/ 9473653 w 11804048"/>
                <a:gd name="connsiteY19" fmla="*/ 4566347 h 4989102"/>
                <a:gd name="connsiteX20" fmla="*/ 9259827 w 11804048"/>
                <a:gd name="connsiteY20" fmla="*/ 4105284 h 4989102"/>
                <a:gd name="connsiteX21" fmla="*/ 8687061 w 11804048"/>
                <a:gd name="connsiteY21" fmla="*/ 3706994 h 4989102"/>
                <a:gd name="connsiteX22" fmla="*/ 6827493 w 11804048"/>
                <a:gd name="connsiteY22" fmla="*/ 3277679 h 4989102"/>
                <a:gd name="connsiteX23" fmla="*/ 4576790 w 11804048"/>
                <a:gd name="connsiteY23" fmla="*/ 2777652 h 4989102"/>
                <a:gd name="connsiteX24" fmla="*/ 3783470 w 11804048"/>
                <a:gd name="connsiteY24" fmla="*/ 2456567 h 4989102"/>
                <a:gd name="connsiteX25" fmla="*/ 3471621 w 11804048"/>
                <a:gd name="connsiteY25" fmla="*/ 2060443 h 4989102"/>
                <a:gd name="connsiteX26" fmla="*/ 4040063 w 11804048"/>
                <a:gd name="connsiteY26" fmla="*/ 1501972 h 4989102"/>
                <a:gd name="connsiteX27" fmla="*/ 5174543 w 11804048"/>
                <a:gd name="connsiteY27" fmla="*/ 1228508 h 4989102"/>
                <a:gd name="connsiteX28" fmla="*/ 6135560 w 11804048"/>
                <a:gd name="connsiteY28" fmla="*/ 891189 h 4989102"/>
                <a:gd name="connsiteX29" fmla="*/ 5983239 w 11804048"/>
                <a:gd name="connsiteY29" fmla="*/ 758787 h 4989102"/>
                <a:gd name="connsiteX30" fmla="*/ 5566157 w 11804048"/>
                <a:gd name="connsiteY30" fmla="*/ 642619 h 4989102"/>
                <a:gd name="connsiteX31" fmla="*/ 4293290 w 11804048"/>
                <a:gd name="connsiteY31" fmla="*/ 475583 h 4989102"/>
                <a:gd name="connsiteX32" fmla="*/ 2483701 w 11804048"/>
                <a:gd name="connsiteY32" fmla="*/ 360056 h 4989102"/>
                <a:gd name="connsiteX33" fmla="*/ 2470484 w 11804048"/>
                <a:gd name="connsiteY33" fmla="*/ 359542 h 4989102"/>
                <a:gd name="connsiteX34" fmla="*/ 2470484 w 11804048"/>
                <a:gd name="connsiteY34" fmla="*/ 360362 h 4989102"/>
                <a:gd name="connsiteX35" fmla="*/ 0 w 11804048"/>
                <a:gd name="connsiteY35" fmla="*/ 360362 h 4989102"/>
                <a:gd name="connsiteX0" fmla="*/ 0 w 11804048"/>
                <a:gd name="connsiteY0" fmla="*/ 0 h 4989102"/>
                <a:gd name="connsiteX1" fmla="*/ 2470484 w 11804048"/>
                <a:gd name="connsiteY1" fmla="*/ 0 h 4989102"/>
                <a:gd name="connsiteX2" fmla="*/ 2931171 w 11804048"/>
                <a:gd name="connsiteY2" fmla="*/ 4048 h 4989102"/>
                <a:gd name="connsiteX3" fmla="*/ 6192260 w 11804048"/>
                <a:gd name="connsiteY3" fmla="*/ 249741 h 4989102"/>
                <a:gd name="connsiteX4" fmla="*/ 7564593 w 11804048"/>
                <a:gd name="connsiteY4" fmla="*/ 558199 h 4989102"/>
                <a:gd name="connsiteX5" fmla="*/ 8111411 w 11804048"/>
                <a:gd name="connsiteY5" fmla="*/ 994008 h 4989102"/>
                <a:gd name="connsiteX6" fmla="*/ 7998011 w 11804048"/>
                <a:gd name="connsiteY6" fmla="*/ 1181248 h 4989102"/>
                <a:gd name="connsiteX7" fmla="*/ 7704421 w 11804048"/>
                <a:gd name="connsiteY7" fmla="*/ 1321947 h 4989102"/>
                <a:gd name="connsiteX8" fmla="*/ 6816921 w 11804048"/>
                <a:gd name="connsiteY8" fmla="*/ 1530472 h 4989102"/>
                <a:gd name="connsiteX9" fmla="*/ 5448433 w 11804048"/>
                <a:gd name="connsiteY9" fmla="*/ 2106982 h 4989102"/>
                <a:gd name="connsiteX10" fmla="*/ 5977954 w 11804048"/>
                <a:gd name="connsiteY10" fmla="*/ 2336792 h 4989102"/>
                <a:gd name="connsiteX11" fmla="*/ 7286859 w 11804048"/>
                <a:gd name="connsiteY11" fmla="*/ 2591856 h 4989102"/>
                <a:gd name="connsiteX12" fmla="*/ 9458757 w 11804048"/>
                <a:gd name="connsiteY12" fmla="*/ 3031273 h 4989102"/>
                <a:gd name="connsiteX13" fmla="*/ 11069902 w 11804048"/>
                <a:gd name="connsiteY13" fmla="*/ 3671639 h 4989102"/>
                <a:gd name="connsiteX14" fmla="*/ 11575878 w 11804048"/>
                <a:gd name="connsiteY14" fmla="*/ 4217483 h 4989102"/>
                <a:gd name="connsiteX15" fmla="*/ 11776250 w 11804048"/>
                <a:gd name="connsiteY15" fmla="*/ 4677103 h 4989102"/>
                <a:gd name="connsiteX16" fmla="*/ 11803954 w 11804048"/>
                <a:gd name="connsiteY16" fmla="*/ 4928562 h 4989102"/>
                <a:gd name="connsiteX17" fmla="*/ 11800968 w 11804048"/>
                <a:gd name="connsiteY17" fmla="*/ 4989102 h 4989102"/>
                <a:gd name="connsiteX18" fmla="*/ 9480312 w 11804048"/>
                <a:gd name="connsiteY18" fmla="*/ 4989102 h 4989102"/>
                <a:gd name="connsiteX19" fmla="*/ 9473653 w 11804048"/>
                <a:gd name="connsiteY19" fmla="*/ 4566347 h 4989102"/>
                <a:gd name="connsiteX20" fmla="*/ 9259827 w 11804048"/>
                <a:gd name="connsiteY20" fmla="*/ 4105284 h 4989102"/>
                <a:gd name="connsiteX21" fmla="*/ 8687061 w 11804048"/>
                <a:gd name="connsiteY21" fmla="*/ 3706994 h 4989102"/>
                <a:gd name="connsiteX22" fmla="*/ 6827493 w 11804048"/>
                <a:gd name="connsiteY22" fmla="*/ 3277679 h 4989102"/>
                <a:gd name="connsiteX23" fmla="*/ 4576790 w 11804048"/>
                <a:gd name="connsiteY23" fmla="*/ 2777652 h 4989102"/>
                <a:gd name="connsiteX24" fmla="*/ 3783470 w 11804048"/>
                <a:gd name="connsiteY24" fmla="*/ 2456567 h 4989102"/>
                <a:gd name="connsiteX25" fmla="*/ 3471621 w 11804048"/>
                <a:gd name="connsiteY25" fmla="*/ 2060443 h 4989102"/>
                <a:gd name="connsiteX26" fmla="*/ 4040063 w 11804048"/>
                <a:gd name="connsiteY26" fmla="*/ 1501972 h 4989102"/>
                <a:gd name="connsiteX27" fmla="*/ 5174543 w 11804048"/>
                <a:gd name="connsiteY27" fmla="*/ 1228508 h 4989102"/>
                <a:gd name="connsiteX28" fmla="*/ 6135560 w 11804048"/>
                <a:gd name="connsiteY28" fmla="*/ 891189 h 4989102"/>
                <a:gd name="connsiteX29" fmla="*/ 5983239 w 11804048"/>
                <a:gd name="connsiteY29" fmla="*/ 758787 h 4989102"/>
                <a:gd name="connsiteX30" fmla="*/ 5566157 w 11804048"/>
                <a:gd name="connsiteY30" fmla="*/ 642619 h 4989102"/>
                <a:gd name="connsiteX31" fmla="*/ 4293290 w 11804048"/>
                <a:gd name="connsiteY31" fmla="*/ 475583 h 4989102"/>
                <a:gd name="connsiteX32" fmla="*/ 2483701 w 11804048"/>
                <a:gd name="connsiteY32" fmla="*/ 360056 h 4989102"/>
                <a:gd name="connsiteX33" fmla="*/ 2470484 w 11804048"/>
                <a:gd name="connsiteY33" fmla="*/ 359542 h 4989102"/>
                <a:gd name="connsiteX34" fmla="*/ 0 w 11804048"/>
                <a:gd name="connsiteY34" fmla="*/ 360362 h 4989102"/>
                <a:gd name="connsiteX35" fmla="*/ 0 w 11804048"/>
                <a:gd name="connsiteY35" fmla="*/ 0 h 4989102"/>
                <a:gd name="connsiteX0" fmla="*/ 0 w 11804048"/>
                <a:gd name="connsiteY0" fmla="*/ 0 h 4989102"/>
                <a:gd name="connsiteX1" fmla="*/ 2470484 w 11804048"/>
                <a:gd name="connsiteY1" fmla="*/ 0 h 4989102"/>
                <a:gd name="connsiteX2" fmla="*/ 2931171 w 11804048"/>
                <a:gd name="connsiteY2" fmla="*/ 4048 h 4989102"/>
                <a:gd name="connsiteX3" fmla="*/ 6192260 w 11804048"/>
                <a:gd name="connsiteY3" fmla="*/ 249741 h 4989102"/>
                <a:gd name="connsiteX4" fmla="*/ 7564593 w 11804048"/>
                <a:gd name="connsiteY4" fmla="*/ 558199 h 4989102"/>
                <a:gd name="connsiteX5" fmla="*/ 8111411 w 11804048"/>
                <a:gd name="connsiteY5" fmla="*/ 994008 h 4989102"/>
                <a:gd name="connsiteX6" fmla="*/ 7998011 w 11804048"/>
                <a:gd name="connsiteY6" fmla="*/ 1181248 h 4989102"/>
                <a:gd name="connsiteX7" fmla="*/ 7704421 w 11804048"/>
                <a:gd name="connsiteY7" fmla="*/ 1321947 h 4989102"/>
                <a:gd name="connsiteX8" fmla="*/ 6816921 w 11804048"/>
                <a:gd name="connsiteY8" fmla="*/ 1530472 h 4989102"/>
                <a:gd name="connsiteX9" fmla="*/ 5448433 w 11804048"/>
                <a:gd name="connsiteY9" fmla="*/ 2106982 h 4989102"/>
                <a:gd name="connsiteX10" fmla="*/ 5977954 w 11804048"/>
                <a:gd name="connsiteY10" fmla="*/ 2336792 h 4989102"/>
                <a:gd name="connsiteX11" fmla="*/ 7286859 w 11804048"/>
                <a:gd name="connsiteY11" fmla="*/ 2591856 h 4989102"/>
                <a:gd name="connsiteX12" fmla="*/ 9458757 w 11804048"/>
                <a:gd name="connsiteY12" fmla="*/ 3031273 h 4989102"/>
                <a:gd name="connsiteX13" fmla="*/ 11069902 w 11804048"/>
                <a:gd name="connsiteY13" fmla="*/ 3671639 h 4989102"/>
                <a:gd name="connsiteX14" fmla="*/ 11575878 w 11804048"/>
                <a:gd name="connsiteY14" fmla="*/ 4217483 h 4989102"/>
                <a:gd name="connsiteX15" fmla="*/ 11776250 w 11804048"/>
                <a:gd name="connsiteY15" fmla="*/ 4677103 h 4989102"/>
                <a:gd name="connsiteX16" fmla="*/ 11803954 w 11804048"/>
                <a:gd name="connsiteY16" fmla="*/ 4928562 h 4989102"/>
                <a:gd name="connsiteX17" fmla="*/ 11800968 w 11804048"/>
                <a:gd name="connsiteY17" fmla="*/ 4989102 h 4989102"/>
                <a:gd name="connsiteX18" fmla="*/ 9480312 w 11804048"/>
                <a:gd name="connsiteY18" fmla="*/ 4989102 h 4989102"/>
                <a:gd name="connsiteX19" fmla="*/ 9473653 w 11804048"/>
                <a:gd name="connsiteY19" fmla="*/ 4566347 h 4989102"/>
                <a:gd name="connsiteX20" fmla="*/ 9259827 w 11804048"/>
                <a:gd name="connsiteY20" fmla="*/ 4105284 h 4989102"/>
                <a:gd name="connsiteX21" fmla="*/ 8687061 w 11804048"/>
                <a:gd name="connsiteY21" fmla="*/ 3706994 h 4989102"/>
                <a:gd name="connsiteX22" fmla="*/ 6827493 w 11804048"/>
                <a:gd name="connsiteY22" fmla="*/ 3277679 h 4989102"/>
                <a:gd name="connsiteX23" fmla="*/ 4576790 w 11804048"/>
                <a:gd name="connsiteY23" fmla="*/ 2777652 h 4989102"/>
                <a:gd name="connsiteX24" fmla="*/ 3783470 w 11804048"/>
                <a:gd name="connsiteY24" fmla="*/ 2456567 h 4989102"/>
                <a:gd name="connsiteX25" fmla="*/ 3471621 w 11804048"/>
                <a:gd name="connsiteY25" fmla="*/ 2060443 h 4989102"/>
                <a:gd name="connsiteX26" fmla="*/ 4040063 w 11804048"/>
                <a:gd name="connsiteY26" fmla="*/ 1501972 h 4989102"/>
                <a:gd name="connsiteX27" fmla="*/ 5174543 w 11804048"/>
                <a:gd name="connsiteY27" fmla="*/ 1228508 h 4989102"/>
                <a:gd name="connsiteX28" fmla="*/ 6135560 w 11804048"/>
                <a:gd name="connsiteY28" fmla="*/ 891189 h 4989102"/>
                <a:gd name="connsiteX29" fmla="*/ 5983239 w 11804048"/>
                <a:gd name="connsiteY29" fmla="*/ 758787 h 4989102"/>
                <a:gd name="connsiteX30" fmla="*/ 5566157 w 11804048"/>
                <a:gd name="connsiteY30" fmla="*/ 642619 h 4989102"/>
                <a:gd name="connsiteX31" fmla="*/ 4293290 w 11804048"/>
                <a:gd name="connsiteY31" fmla="*/ 475583 h 4989102"/>
                <a:gd name="connsiteX32" fmla="*/ 2483701 w 11804048"/>
                <a:gd name="connsiteY32" fmla="*/ 360056 h 4989102"/>
                <a:gd name="connsiteX33" fmla="*/ 0 w 11804048"/>
                <a:gd name="connsiteY33" fmla="*/ 360362 h 4989102"/>
                <a:gd name="connsiteX34" fmla="*/ 0 w 11804048"/>
                <a:gd name="connsiteY34" fmla="*/ 0 h 4989102"/>
                <a:gd name="connsiteX0" fmla="*/ 0 w 11804048"/>
                <a:gd name="connsiteY0" fmla="*/ 0 h 4989102"/>
                <a:gd name="connsiteX1" fmla="*/ 2470484 w 11804048"/>
                <a:gd name="connsiteY1" fmla="*/ 0 h 4989102"/>
                <a:gd name="connsiteX2" fmla="*/ 2931171 w 11804048"/>
                <a:gd name="connsiteY2" fmla="*/ 4048 h 4989102"/>
                <a:gd name="connsiteX3" fmla="*/ 6192260 w 11804048"/>
                <a:gd name="connsiteY3" fmla="*/ 249741 h 4989102"/>
                <a:gd name="connsiteX4" fmla="*/ 7564593 w 11804048"/>
                <a:gd name="connsiteY4" fmla="*/ 558199 h 4989102"/>
                <a:gd name="connsiteX5" fmla="*/ 8111411 w 11804048"/>
                <a:gd name="connsiteY5" fmla="*/ 994008 h 4989102"/>
                <a:gd name="connsiteX6" fmla="*/ 7998011 w 11804048"/>
                <a:gd name="connsiteY6" fmla="*/ 1181248 h 4989102"/>
                <a:gd name="connsiteX7" fmla="*/ 7704421 w 11804048"/>
                <a:gd name="connsiteY7" fmla="*/ 1321947 h 4989102"/>
                <a:gd name="connsiteX8" fmla="*/ 6816921 w 11804048"/>
                <a:gd name="connsiteY8" fmla="*/ 1530472 h 4989102"/>
                <a:gd name="connsiteX9" fmla="*/ 5448433 w 11804048"/>
                <a:gd name="connsiteY9" fmla="*/ 2106982 h 4989102"/>
                <a:gd name="connsiteX10" fmla="*/ 5977954 w 11804048"/>
                <a:gd name="connsiteY10" fmla="*/ 2336792 h 4989102"/>
                <a:gd name="connsiteX11" fmla="*/ 7286859 w 11804048"/>
                <a:gd name="connsiteY11" fmla="*/ 2591856 h 4989102"/>
                <a:gd name="connsiteX12" fmla="*/ 9458757 w 11804048"/>
                <a:gd name="connsiteY12" fmla="*/ 3031273 h 4989102"/>
                <a:gd name="connsiteX13" fmla="*/ 11069902 w 11804048"/>
                <a:gd name="connsiteY13" fmla="*/ 3671639 h 4989102"/>
                <a:gd name="connsiteX14" fmla="*/ 11575878 w 11804048"/>
                <a:gd name="connsiteY14" fmla="*/ 4217483 h 4989102"/>
                <a:gd name="connsiteX15" fmla="*/ 11776250 w 11804048"/>
                <a:gd name="connsiteY15" fmla="*/ 4677103 h 4989102"/>
                <a:gd name="connsiteX16" fmla="*/ 11803954 w 11804048"/>
                <a:gd name="connsiteY16" fmla="*/ 4928562 h 4989102"/>
                <a:gd name="connsiteX17" fmla="*/ 11800968 w 11804048"/>
                <a:gd name="connsiteY17" fmla="*/ 4989102 h 4989102"/>
                <a:gd name="connsiteX18" fmla="*/ 9480312 w 11804048"/>
                <a:gd name="connsiteY18" fmla="*/ 4989102 h 4989102"/>
                <a:gd name="connsiteX19" fmla="*/ 9473653 w 11804048"/>
                <a:gd name="connsiteY19" fmla="*/ 4566347 h 4989102"/>
                <a:gd name="connsiteX20" fmla="*/ 9259827 w 11804048"/>
                <a:gd name="connsiteY20" fmla="*/ 4105284 h 4989102"/>
                <a:gd name="connsiteX21" fmla="*/ 8687061 w 11804048"/>
                <a:gd name="connsiteY21" fmla="*/ 3706994 h 4989102"/>
                <a:gd name="connsiteX22" fmla="*/ 6827493 w 11804048"/>
                <a:gd name="connsiteY22" fmla="*/ 3277679 h 4989102"/>
                <a:gd name="connsiteX23" fmla="*/ 4576790 w 11804048"/>
                <a:gd name="connsiteY23" fmla="*/ 2777652 h 4989102"/>
                <a:gd name="connsiteX24" fmla="*/ 3783470 w 11804048"/>
                <a:gd name="connsiteY24" fmla="*/ 2456567 h 4989102"/>
                <a:gd name="connsiteX25" fmla="*/ 3471621 w 11804048"/>
                <a:gd name="connsiteY25" fmla="*/ 2060443 h 4989102"/>
                <a:gd name="connsiteX26" fmla="*/ 4040063 w 11804048"/>
                <a:gd name="connsiteY26" fmla="*/ 1501972 h 4989102"/>
                <a:gd name="connsiteX27" fmla="*/ 5174543 w 11804048"/>
                <a:gd name="connsiteY27" fmla="*/ 1228508 h 4989102"/>
                <a:gd name="connsiteX28" fmla="*/ 6135560 w 11804048"/>
                <a:gd name="connsiteY28" fmla="*/ 891189 h 4989102"/>
                <a:gd name="connsiteX29" fmla="*/ 5983239 w 11804048"/>
                <a:gd name="connsiteY29" fmla="*/ 758787 h 4989102"/>
                <a:gd name="connsiteX30" fmla="*/ 5566157 w 11804048"/>
                <a:gd name="connsiteY30" fmla="*/ 642619 h 4989102"/>
                <a:gd name="connsiteX31" fmla="*/ 4293290 w 11804048"/>
                <a:gd name="connsiteY31" fmla="*/ 475583 h 4989102"/>
                <a:gd name="connsiteX32" fmla="*/ 2483701 w 11804048"/>
                <a:gd name="connsiteY32" fmla="*/ 360056 h 4989102"/>
                <a:gd name="connsiteX33" fmla="*/ 0 w 11804048"/>
                <a:gd name="connsiteY33" fmla="*/ 360362 h 4989102"/>
                <a:gd name="connsiteX34" fmla="*/ 91325 w 11804048"/>
                <a:gd name="connsiteY34" fmla="*/ 91676 h 4989102"/>
                <a:gd name="connsiteX0" fmla="*/ 0 w 11804048"/>
                <a:gd name="connsiteY0" fmla="*/ 0 h 4989102"/>
                <a:gd name="connsiteX1" fmla="*/ 2470484 w 11804048"/>
                <a:gd name="connsiteY1" fmla="*/ 0 h 4989102"/>
                <a:gd name="connsiteX2" fmla="*/ 2931171 w 11804048"/>
                <a:gd name="connsiteY2" fmla="*/ 4048 h 4989102"/>
                <a:gd name="connsiteX3" fmla="*/ 6192260 w 11804048"/>
                <a:gd name="connsiteY3" fmla="*/ 249741 h 4989102"/>
                <a:gd name="connsiteX4" fmla="*/ 7564593 w 11804048"/>
                <a:gd name="connsiteY4" fmla="*/ 558199 h 4989102"/>
                <a:gd name="connsiteX5" fmla="*/ 8111411 w 11804048"/>
                <a:gd name="connsiteY5" fmla="*/ 994008 h 4989102"/>
                <a:gd name="connsiteX6" fmla="*/ 7998011 w 11804048"/>
                <a:gd name="connsiteY6" fmla="*/ 1181248 h 4989102"/>
                <a:gd name="connsiteX7" fmla="*/ 7704421 w 11804048"/>
                <a:gd name="connsiteY7" fmla="*/ 1321947 h 4989102"/>
                <a:gd name="connsiteX8" fmla="*/ 6816921 w 11804048"/>
                <a:gd name="connsiteY8" fmla="*/ 1530472 h 4989102"/>
                <a:gd name="connsiteX9" fmla="*/ 5448433 w 11804048"/>
                <a:gd name="connsiteY9" fmla="*/ 2106982 h 4989102"/>
                <a:gd name="connsiteX10" fmla="*/ 5977954 w 11804048"/>
                <a:gd name="connsiteY10" fmla="*/ 2336792 h 4989102"/>
                <a:gd name="connsiteX11" fmla="*/ 7286859 w 11804048"/>
                <a:gd name="connsiteY11" fmla="*/ 2591856 h 4989102"/>
                <a:gd name="connsiteX12" fmla="*/ 9458757 w 11804048"/>
                <a:gd name="connsiteY12" fmla="*/ 3031273 h 4989102"/>
                <a:gd name="connsiteX13" fmla="*/ 11069902 w 11804048"/>
                <a:gd name="connsiteY13" fmla="*/ 3671639 h 4989102"/>
                <a:gd name="connsiteX14" fmla="*/ 11575878 w 11804048"/>
                <a:gd name="connsiteY14" fmla="*/ 4217483 h 4989102"/>
                <a:gd name="connsiteX15" fmla="*/ 11776250 w 11804048"/>
                <a:gd name="connsiteY15" fmla="*/ 4677103 h 4989102"/>
                <a:gd name="connsiteX16" fmla="*/ 11803954 w 11804048"/>
                <a:gd name="connsiteY16" fmla="*/ 4928562 h 4989102"/>
                <a:gd name="connsiteX17" fmla="*/ 11800968 w 11804048"/>
                <a:gd name="connsiteY17" fmla="*/ 4989102 h 4989102"/>
                <a:gd name="connsiteX18" fmla="*/ 9480312 w 11804048"/>
                <a:gd name="connsiteY18" fmla="*/ 4989102 h 4989102"/>
                <a:gd name="connsiteX19" fmla="*/ 9473653 w 11804048"/>
                <a:gd name="connsiteY19" fmla="*/ 4566347 h 4989102"/>
                <a:gd name="connsiteX20" fmla="*/ 9259827 w 11804048"/>
                <a:gd name="connsiteY20" fmla="*/ 4105284 h 4989102"/>
                <a:gd name="connsiteX21" fmla="*/ 8687061 w 11804048"/>
                <a:gd name="connsiteY21" fmla="*/ 3706994 h 4989102"/>
                <a:gd name="connsiteX22" fmla="*/ 6827493 w 11804048"/>
                <a:gd name="connsiteY22" fmla="*/ 3277679 h 4989102"/>
                <a:gd name="connsiteX23" fmla="*/ 4576790 w 11804048"/>
                <a:gd name="connsiteY23" fmla="*/ 2777652 h 4989102"/>
                <a:gd name="connsiteX24" fmla="*/ 3783470 w 11804048"/>
                <a:gd name="connsiteY24" fmla="*/ 2456567 h 4989102"/>
                <a:gd name="connsiteX25" fmla="*/ 3471621 w 11804048"/>
                <a:gd name="connsiteY25" fmla="*/ 2060443 h 4989102"/>
                <a:gd name="connsiteX26" fmla="*/ 4040063 w 11804048"/>
                <a:gd name="connsiteY26" fmla="*/ 1501972 h 4989102"/>
                <a:gd name="connsiteX27" fmla="*/ 5174543 w 11804048"/>
                <a:gd name="connsiteY27" fmla="*/ 1228508 h 4989102"/>
                <a:gd name="connsiteX28" fmla="*/ 6135560 w 11804048"/>
                <a:gd name="connsiteY28" fmla="*/ 891189 h 4989102"/>
                <a:gd name="connsiteX29" fmla="*/ 5983239 w 11804048"/>
                <a:gd name="connsiteY29" fmla="*/ 758787 h 4989102"/>
                <a:gd name="connsiteX30" fmla="*/ 5566157 w 11804048"/>
                <a:gd name="connsiteY30" fmla="*/ 642619 h 4989102"/>
                <a:gd name="connsiteX31" fmla="*/ 4293290 w 11804048"/>
                <a:gd name="connsiteY31" fmla="*/ 475583 h 4989102"/>
                <a:gd name="connsiteX32" fmla="*/ 2483701 w 11804048"/>
                <a:gd name="connsiteY32" fmla="*/ 360056 h 4989102"/>
                <a:gd name="connsiteX33" fmla="*/ 0 w 11804048"/>
                <a:gd name="connsiteY33" fmla="*/ 360362 h 4989102"/>
                <a:gd name="connsiteX0" fmla="*/ 2470484 w 11804048"/>
                <a:gd name="connsiteY0" fmla="*/ 0 h 4989102"/>
                <a:gd name="connsiteX1" fmla="*/ 2931171 w 11804048"/>
                <a:gd name="connsiteY1" fmla="*/ 4048 h 4989102"/>
                <a:gd name="connsiteX2" fmla="*/ 6192260 w 11804048"/>
                <a:gd name="connsiteY2" fmla="*/ 249741 h 4989102"/>
                <a:gd name="connsiteX3" fmla="*/ 7564593 w 11804048"/>
                <a:gd name="connsiteY3" fmla="*/ 558199 h 4989102"/>
                <a:gd name="connsiteX4" fmla="*/ 8111411 w 11804048"/>
                <a:gd name="connsiteY4" fmla="*/ 994008 h 4989102"/>
                <a:gd name="connsiteX5" fmla="*/ 7998011 w 11804048"/>
                <a:gd name="connsiteY5" fmla="*/ 1181248 h 4989102"/>
                <a:gd name="connsiteX6" fmla="*/ 7704421 w 11804048"/>
                <a:gd name="connsiteY6" fmla="*/ 1321947 h 4989102"/>
                <a:gd name="connsiteX7" fmla="*/ 6816921 w 11804048"/>
                <a:gd name="connsiteY7" fmla="*/ 1530472 h 4989102"/>
                <a:gd name="connsiteX8" fmla="*/ 5448433 w 11804048"/>
                <a:gd name="connsiteY8" fmla="*/ 2106982 h 4989102"/>
                <a:gd name="connsiteX9" fmla="*/ 5977954 w 11804048"/>
                <a:gd name="connsiteY9" fmla="*/ 2336792 h 4989102"/>
                <a:gd name="connsiteX10" fmla="*/ 7286859 w 11804048"/>
                <a:gd name="connsiteY10" fmla="*/ 2591856 h 4989102"/>
                <a:gd name="connsiteX11" fmla="*/ 9458757 w 11804048"/>
                <a:gd name="connsiteY11" fmla="*/ 3031273 h 4989102"/>
                <a:gd name="connsiteX12" fmla="*/ 11069902 w 11804048"/>
                <a:gd name="connsiteY12" fmla="*/ 3671639 h 4989102"/>
                <a:gd name="connsiteX13" fmla="*/ 11575878 w 11804048"/>
                <a:gd name="connsiteY13" fmla="*/ 4217483 h 4989102"/>
                <a:gd name="connsiteX14" fmla="*/ 11776250 w 11804048"/>
                <a:gd name="connsiteY14" fmla="*/ 4677103 h 4989102"/>
                <a:gd name="connsiteX15" fmla="*/ 11803954 w 11804048"/>
                <a:gd name="connsiteY15" fmla="*/ 4928562 h 4989102"/>
                <a:gd name="connsiteX16" fmla="*/ 11800968 w 11804048"/>
                <a:gd name="connsiteY16" fmla="*/ 4989102 h 4989102"/>
                <a:gd name="connsiteX17" fmla="*/ 9480312 w 11804048"/>
                <a:gd name="connsiteY17" fmla="*/ 4989102 h 4989102"/>
                <a:gd name="connsiteX18" fmla="*/ 9473653 w 11804048"/>
                <a:gd name="connsiteY18" fmla="*/ 4566347 h 4989102"/>
                <a:gd name="connsiteX19" fmla="*/ 9259827 w 11804048"/>
                <a:gd name="connsiteY19" fmla="*/ 4105284 h 4989102"/>
                <a:gd name="connsiteX20" fmla="*/ 8687061 w 11804048"/>
                <a:gd name="connsiteY20" fmla="*/ 3706994 h 4989102"/>
                <a:gd name="connsiteX21" fmla="*/ 6827493 w 11804048"/>
                <a:gd name="connsiteY21" fmla="*/ 3277679 h 4989102"/>
                <a:gd name="connsiteX22" fmla="*/ 4576790 w 11804048"/>
                <a:gd name="connsiteY22" fmla="*/ 2777652 h 4989102"/>
                <a:gd name="connsiteX23" fmla="*/ 3783470 w 11804048"/>
                <a:gd name="connsiteY23" fmla="*/ 2456567 h 4989102"/>
                <a:gd name="connsiteX24" fmla="*/ 3471621 w 11804048"/>
                <a:gd name="connsiteY24" fmla="*/ 2060443 h 4989102"/>
                <a:gd name="connsiteX25" fmla="*/ 4040063 w 11804048"/>
                <a:gd name="connsiteY25" fmla="*/ 1501972 h 4989102"/>
                <a:gd name="connsiteX26" fmla="*/ 5174543 w 11804048"/>
                <a:gd name="connsiteY26" fmla="*/ 1228508 h 4989102"/>
                <a:gd name="connsiteX27" fmla="*/ 6135560 w 11804048"/>
                <a:gd name="connsiteY27" fmla="*/ 891189 h 4989102"/>
                <a:gd name="connsiteX28" fmla="*/ 5983239 w 11804048"/>
                <a:gd name="connsiteY28" fmla="*/ 758787 h 4989102"/>
                <a:gd name="connsiteX29" fmla="*/ 5566157 w 11804048"/>
                <a:gd name="connsiteY29" fmla="*/ 642619 h 4989102"/>
                <a:gd name="connsiteX30" fmla="*/ 4293290 w 11804048"/>
                <a:gd name="connsiteY30" fmla="*/ 475583 h 4989102"/>
                <a:gd name="connsiteX31" fmla="*/ 2483701 w 11804048"/>
                <a:gd name="connsiteY31" fmla="*/ 360056 h 4989102"/>
                <a:gd name="connsiteX32" fmla="*/ 0 w 11804048"/>
                <a:gd name="connsiteY32" fmla="*/ 360362 h 4989102"/>
                <a:gd name="connsiteX0" fmla="*/ 2931171 w 11804048"/>
                <a:gd name="connsiteY0" fmla="*/ 0 h 4985054"/>
                <a:gd name="connsiteX1" fmla="*/ 6192260 w 11804048"/>
                <a:gd name="connsiteY1" fmla="*/ 245693 h 4985054"/>
                <a:gd name="connsiteX2" fmla="*/ 7564593 w 11804048"/>
                <a:gd name="connsiteY2" fmla="*/ 554151 h 4985054"/>
                <a:gd name="connsiteX3" fmla="*/ 8111411 w 11804048"/>
                <a:gd name="connsiteY3" fmla="*/ 989960 h 4985054"/>
                <a:gd name="connsiteX4" fmla="*/ 7998011 w 11804048"/>
                <a:gd name="connsiteY4" fmla="*/ 1177200 h 4985054"/>
                <a:gd name="connsiteX5" fmla="*/ 7704421 w 11804048"/>
                <a:gd name="connsiteY5" fmla="*/ 1317899 h 4985054"/>
                <a:gd name="connsiteX6" fmla="*/ 6816921 w 11804048"/>
                <a:gd name="connsiteY6" fmla="*/ 1526424 h 4985054"/>
                <a:gd name="connsiteX7" fmla="*/ 5448433 w 11804048"/>
                <a:gd name="connsiteY7" fmla="*/ 2102934 h 4985054"/>
                <a:gd name="connsiteX8" fmla="*/ 5977954 w 11804048"/>
                <a:gd name="connsiteY8" fmla="*/ 2332744 h 4985054"/>
                <a:gd name="connsiteX9" fmla="*/ 7286859 w 11804048"/>
                <a:gd name="connsiteY9" fmla="*/ 2587808 h 4985054"/>
                <a:gd name="connsiteX10" fmla="*/ 9458757 w 11804048"/>
                <a:gd name="connsiteY10" fmla="*/ 3027225 h 4985054"/>
                <a:gd name="connsiteX11" fmla="*/ 11069902 w 11804048"/>
                <a:gd name="connsiteY11" fmla="*/ 3667591 h 4985054"/>
                <a:gd name="connsiteX12" fmla="*/ 11575878 w 11804048"/>
                <a:gd name="connsiteY12" fmla="*/ 4213435 h 4985054"/>
                <a:gd name="connsiteX13" fmla="*/ 11776250 w 11804048"/>
                <a:gd name="connsiteY13" fmla="*/ 4673055 h 4985054"/>
                <a:gd name="connsiteX14" fmla="*/ 11803954 w 11804048"/>
                <a:gd name="connsiteY14" fmla="*/ 4924514 h 4985054"/>
                <a:gd name="connsiteX15" fmla="*/ 11800968 w 11804048"/>
                <a:gd name="connsiteY15" fmla="*/ 4985054 h 4985054"/>
                <a:gd name="connsiteX16" fmla="*/ 9480312 w 11804048"/>
                <a:gd name="connsiteY16" fmla="*/ 4985054 h 4985054"/>
                <a:gd name="connsiteX17" fmla="*/ 9473653 w 11804048"/>
                <a:gd name="connsiteY17" fmla="*/ 4562299 h 4985054"/>
                <a:gd name="connsiteX18" fmla="*/ 9259827 w 11804048"/>
                <a:gd name="connsiteY18" fmla="*/ 4101236 h 4985054"/>
                <a:gd name="connsiteX19" fmla="*/ 8687061 w 11804048"/>
                <a:gd name="connsiteY19" fmla="*/ 3702946 h 4985054"/>
                <a:gd name="connsiteX20" fmla="*/ 6827493 w 11804048"/>
                <a:gd name="connsiteY20" fmla="*/ 3273631 h 4985054"/>
                <a:gd name="connsiteX21" fmla="*/ 4576790 w 11804048"/>
                <a:gd name="connsiteY21" fmla="*/ 2773604 h 4985054"/>
                <a:gd name="connsiteX22" fmla="*/ 3783470 w 11804048"/>
                <a:gd name="connsiteY22" fmla="*/ 2452519 h 4985054"/>
                <a:gd name="connsiteX23" fmla="*/ 3471621 w 11804048"/>
                <a:gd name="connsiteY23" fmla="*/ 2056395 h 4985054"/>
                <a:gd name="connsiteX24" fmla="*/ 4040063 w 11804048"/>
                <a:gd name="connsiteY24" fmla="*/ 1497924 h 4985054"/>
                <a:gd name="connsiteX25" fmla="*/ 5174543 w 11804048"/>
                <a:gd name="connsiteY25" fmla="*/ 1224460 h 4985054"/>
                <a:gd name="connsiteX26" fmla="*/ 6135560 w 11804048"/>
                <a:gd name="connsiteY26" fmla="*/ 887141 h 4985054"/>
                <a:gd name="connsiteX27" fmla="*/ 5983239 w 11804048"/>
                <a:gd name="connsiteY27" fmla="*/ 754739 h 4985054"/>
                <a:gd name="connsiteX28" fmla="*/ 5566157 w 11804048"/>
                <a:gd name="connsiteY28" fmla="*/ 638571 h 4985054"/>
                <a:gd name="connsiteX29" fmla="*/ 4293290 w 11804048"/>
                <a:gd name="connsiteY29" fmla="*/ 471535 h 4985054"/>
                <a:gd name="connsiteX30" fmla="*/ 2483701 w 11804048"/>
                <a:gd name="connsiteY30" fmla="*/ 356008 h 4985054"/>
                <a:gd name="connsiteX31" fmla="*/ 0 w 11804048"/>
                <a:gd name="connsiteY31" fmla="*/ 356314 h 4985054"/>
                <a:gd name="connsiteX0" fmla="*/ 6192260 w 11804048"/>
                <a:gd name="connsiteY0" fmla="*/ 0 h 4739361"/>
                <a:gd name="connsiteX1" fmla="*/ 7564593 w 11804048"/>
                <a:gd name="connsiteY1" fmla="*/ 308458 h 4739361"/>
                <a:gd name="connsiteX2" fmla="*/ 8111411 w 11804048"/>
                <a:gd name="connsiteY2" fmla="*/ 744267 h 4739361"/>
                <a:gd name="connsiteX3" fmla="*/ 7998011 w 11804048"/>
                <a:gd name="connsiteY3" fmla="*/ 931507 h 4739361"/>
                <a:gd name="connsiteX4" fmla="*/ 7704421 w 11804048"/>
                <a:gd name="connsiteY4" fmla="*/ 1072206 h 4739361"/>
                <a:gd name="connsiteX5" fmla="*/ 6816921 w 11804048"/>
                <a:gd name="connsiteY5" fmla="*/ 1280731 h 4739361"/>
                <a:gd name="connsiteX6" fmla="*/ 5448433 w 11804048"/>
                <a:gd name="connsiteY6" fmla="*/ 1857241 h 4739361"/>
                <a:gd name="connsiteX7" fmla="*/ 5977954 w 11804048"/>
                <a:gd name="connsiteY7" fmla="*/ 2087051 h 4739361"/>
                <a:gd name="connsiteX8" fmla="*/ 7286859 w 11804048"/>
                <a:gd name="connsiteY8" fmla="*/ 2342115 h 4739361"/>
                <a:gd name="connsiteX9" fmla="*/ 9458757 w 11804048"/>
                <a:gd name="connsiteY9" fmla="*/ 2781532 h 4739361"/>
                <a:gd name="connsiteX10" fmla="*/ 11069902 w 11804048"/>
                <a:gd name="connsiteY10" fmla="*/ 3421898 h 4739361"/>
                <a:gd name="connsiteX11" fmla="*/ 11575878 w 11804048"/>
                <a:gd name="connsiteY11" fmla="*/ 3967742 h 4739361"/>
                <a:gd name="connsiteX12" fmla="*/ 11776250 w 11804048"/>
                <a:gd name="connsiteY12" fmla="*/ 4427362 h 4739361"/>
                <a:gd name="connsiteX13" fmla="*/ 11803954 w 11804048"/>
                <a:gd name="connsiteY13" fmla="*/ 4678821 h 4739361"/>
                <a:gd name="connsiteX14" fmla="*/ 11800968 w 11804048"/>
                <a:gd name="connsiteY14" fmla="*/ 4739361 h 4739361"/>
                <a:gd name="connsiteX15" fmla="*/ 9480312 w 11804048"/>
                <a:gd name="connsiteY15" fmla="*/ 4739361 h 4739361"/>
                <a:gd name="connsiteX16" fmla="*/ 9473653 w 11804048"/>
                <a:gd name="connsiteY16" fmla="*/ 4316606 h 4739361"/>
                <a:gd name="connsiteX17" fmla="*/ 9259827 w 11804048"/>
                <a:gd name="connsiteY17" fmla="*/ 3855543 h 4739361"/>
                <a:gd name="connsiteX18" fmla="*/ 8687061 w 11804048"/>
                <a:gd name="connsiteY18" fmla="*/ 3457253 h 4739361"/>
                <a:gd name="connsiteX19" fmla="*/ 6827493 w 11804048"/>
                <a:gd name="connsiteY19" fmla="*/ 3027938 h 4739361"/>
                <a:gd name="connsiteX20" fmla="*/ 4576790 w 11804048"/>
                <a:gd name="connsiteY20" fmla="*/ 2527911 h 4739361"/>
                <a:gd name="connsiteX21" fmla="*/ 3783470 w 11804048"/>
                <a:gd name="connsiteY21" fmla="*/ 2206826 h 4739361"/>
                <a:gd name="connsiteX22" fmla="*/ 3471621 w 11804048"/>
                <a:gd name="connsiteY22" fmla="*/ 1810702 h 4739361"/>
                <a:gd name="connsiteX23" fmla="*/ 4040063 w 11804048"/>
                <a:gd name="connsiteY23" fmla="*/ 1252231 h 4739361"/>
                <a:gd name="connsiteX24" fmla="*/ 5174543 w 11804048"/>
                <a:gd name="connsiteY24" fmla="*/ 978767 h 4739361"/>
                <a:gd name="connsiteX25" fmla="*/ 6135560 w 11804048"/>
                <a:gd name="connsiteY25" fmla="*/ 641448 h 4739361"/>
                <a:gd name="connsiteX26" fmla="*/ 5983239 w 11804048"/>
                <a:gd name="connsiteY26" fmla="*/ 509046 h 4739361"/>
                <a:gd name="connsiteX27" fmla="*/ 5566157 w 11804048"/>
                <a:gd name="connsiteY27" fmla="*/ 392878 h 4739361"/>
                <a:gd name="connsiteX28" fmla="*/ 4293290 w 11804048"/>
                <a:gd name="connsiteY28" fmla="*/ 225842 h 4739361"/>
                <a:gd name="connsiteX29" fmla="*/ 2483701 w 11804048"/>
                <a:gd name="connsiteY29" fmla="*/ 110315 h 4739361"/>
                <a:gd name="connsiteX30" fmla="*/ 0 w 11804048"/>
                <a:gd name="connsiteY30" fmla="*/ 110621 h 4739361"/>
                <a:gd name="connsiteX0" fmla="*/ 7564593 w 11804048"/>
                <a:gd name="connsiteY0" fmla="*/ 198143 h 4629046"/>
                <a:gd name="connsiteX1" fmla="*/ 8111411 w 11804048"/>
                <a:gd name="connsiteY1" fmla="*/ 633952 h 4629046"/>
                <a:gd name="connsiteX2" fmla="*/ 7998011 w 11804048"/>
                <a:gd name="connsiteY2" fmla="*/ 821192 h 4629046"/>
                <a:gd name="connsiteX3" fmla="*/ 7704421 w 11804048"/>
                <a:gd name="connsiteY3" fmla="*/ 961891 h 4629046"/>
                <a:gd name="connsiteX4" fmla="*/ 6816921 w 11804048"/>
                <a:gd name="connsiteY4" fmla="*/ 1170416 h 4629046"/>
                <a:gd name="connsiteX5" fmla="*/ 5448433 w 11804048"/>
                <a:gd name="connsiteY5" fmla="*/ 1746926 h 4629046"/>
                <a:gd name="connsiteX6" fmla="*/ 5977954 w 11804048"/>
                <a:gd name="connsiteY6" fmla="*/ 1976736 h 4629046"/>
                <a:gd name="connsiteX7" fmla="*/ 7286859 w 11804048"/>
                <a:gd name="connsiteY7" fmla="*/ 2231800 h 4629046"/>
                <a:gd name="connsiteX8" fmla="*/ 9458757 w 11804048"/>
                <a:gd name="connsiteY8" fmla="*/ 2671217 h 4629046"/>
                <a:gd name="connsiteX9" fmla="*/ 11069902 w 11804048"/>
                <a:gd name="connsiteY9" fmla="*/ 3311583 h 4629046"/>
                <a:gd name="connsiteX10" fmla="*/ 11575878 w 11804048"/>
                <a:gd name="connsiteY10" fmla="*/ 3857427 h 4629046"/>
                <a:gd name="connsiteX11" fmla="*/ 11776250 w 11804048"/>
                <a:gd name="connsiteY11" fmla="*/ 4317047 h 4629046"/>
                <a:gd name="connsiteX12" fmla="*/ 11803954 w 11804048"/>
                <a:gd name="connsiteY12" fmla="*/ 4568506 h 4629046"/>
                <a:gd name="connsiteX13" fmla="*/ 11800968 w 11804048"/>
                <a:gd name="connsiteY13" fmla="*/ 4629046 h 4629046"/>
                <a:gd name="connsiteX14" fmla="*/ 9480312 w 11804048"/>
                <a:gd name="connsiteY14" fmla="*/ 4629046 h 4629046"/>
                <a:gd name="connsiteX15" fmla="*/ 9473653 w 11804048"/>
                <a:gd name="connsiteY15" fmla="*/ 4206291 h 4629046"/>
                <a:gd name="connsiteX16" fmla="*/ 9259827 w 11804048"/>
                <a:gd name="connsiteY16" fmla="*/ 3745228 h 4629046"/>
                <a:gd name="connsiteX17" fmla="*/ 8687061 w 11804048"/>
                <a:gd name="connsiteY17" fmla="*/ 3346938 h 4629046"/>
                <a:gd name="connsiteX18" fmla="*/ 6827493 w 11804048"/>
                <a:gd name="connsiteY18" fmla="*/ 2917623 h 4629046"/>
                <a:gd name="connsiteX19" fmla="*/ 4576790 w 11804048"/>
                <a:gd name="connsiteY19" fmla="*/ 2417596 h 4629046"/>
                <a:gd name="connsiteX20" fmla="*/ 3783470 w 11804048"/>
                <a:gd name="connsiteY20" fmla="*/ 2096511 h 4629046"/>
                <a:gd name="connsiteX21" fmla="*/ 3471621 w 11804048"/>
                <a:gd name="connsiteY21" fmla="*/ 1700387 h 4629046"/>
                <a:gd name="connsiteX22" fmla="*/ 4040063 w 11804048"/>
                <a:gd name="connsiteY22" fmla="*/ 1141916 h 4629046"/>
                <a:gd name="connsiteX23" fmla="*/ 5174543 w 11804048"/>
                <a:gd name="connsiteY23" fmla="*/ 868452 h 4629046"/>
                <a:gd name="connsiteX24" fmla="*/ 6135560 w 11804048"/>
                <a:gd name="connsiteY24" fmla="*/ 531133 h 4629046"/>
                <a:gd name="connsiteX25" fmla="*/ 5983239 w 11804048"/>
                <a:gd name="connsiteY25" fmla="*/ 398731 h 4629046"/>
                <a:gd name="connsiteX26" fmla="*/ 5566157 w 11804048"/>
                <a:gd name="connsiteY26" fmla="*/ 282563 h 4629046"/>
                <a:gd name="connsiteX27" fmla="*/ 4293290 w 11804048"/>
                <a:gd name="connsiteY27" fmla="*/ 115527 h 4629046"/>
                <a:gd name="connsiteX28" fmla="*/ 2483701 w 11804048"/>
                <a:gd name="connsiteY28" fmla="*/ 0 h 4629046"/>
                <a:gd name="connsiteX29" fmla="*/ 0 w 11804048"/>
                <a:gd name="connsiteY29" fmla="*/ 306 h 4629046"/>
                <a:gd name="connsiteX0" fmla="*/ 8111411 w 11804048"/>
                <a:gd name="connsiteY0" fmla="*/ 633952 h 4629046"/>
                <a:gd name="connsiteX1" fmla="*/ 7998011 w 11804048"/>
                <a:gd name="connsiteY1" fmla="*/ 821192 h 4629046"/>
                <a:gd name="connsiteX2" fmla="*/ 7704421 w 11804048"/>
                <a:gd name="connsiteY2" fmla="*/ 961891 h 4629046"/>
                <a:gd name="connsiteX3" fmla="*/ 6816921 w 11804048"/>
                <a:gd name="connsiteY3" fmla="*/ 1170416 h 4629046"/>
                <a:gd name="connsiteX4" fmla="*/ 5448433 w 11804048"/>
                <a:gd name="connsiteY4" fmla="*/ 1746926 h 4629046"/>
                <a:gd name="connsiteX5" fmla="*/ 5977954 w 11804048"/>
                <a:gd name="connsiteY5" fmla="*/ 1976736 h 4629046"/>
                <a:gd name="connsiteX6" fmla="*/ 7286859 w 11804048"/>
                <a:gd name="connsiteY6" fmla="*/ 2231800 h 4629046"/>
                <a:gd name="connsiteX7" fmla="*/ 9458757 w 11804048"/>
                <a:gd name="connsiteY7" fmla="*/ 2671217 h 4629046"/>
                <a:gd name="connsiteX8" fmla="*/ 11069902 w 11804048"/>
                <a:gd name="connsiteY8" fmla="*/ 3311583 h 4629046"/>
                <a:gd name="connsiteX9" fmla="*/ 11575878 w 11804048"/>
                <a:gd name="connsiteY9" fmla="*/ 3857427 h 4629046"/>
                <a:gd name="connsiteX10" fmla="*/ 11776250 w 11804048"/>
                <a:gd name="connsiteY10" fmla="*/ 4317047 h 4629046"/>
                <a:gd name="connsiteX11" fmla="*/ 11803954 w 11804048"/>
                <a:gd name="connsiteY11" fmla="*/ 4568506 h 4629046"/>
                <a:gd name="connsiteX12" fmla="*/ 11800968 w 11804048"/>
                <a:gd name="connsiteY12" fmla="*/ 4629046 h 4629046"/>
                <a:gd name="connsiteX13" fmla="*/ 9480312 w 11804048"/>
                <a:gd name="connsiteY13" fmla="*/ 4629046 h 4629046"/>
                <a:gd name="connsiteX14" fmla="*/ 9473653 w 11804048"/>
                <a:gd name="connsiteY14" fmla="*/ 4206291 h 4629046"/>
                <a:gd name="connsiteX15" fmla="*/ 9259827 w 11804048"/>
                <a:gd name="connsiteY15" fmla="*/ 3745228 h 4629046"/>
                <a:gd name="connsiteX16" fmla="*/ 8687061 w 11804048"/>
                <a:gd name="connsiteY16" fmla="*/ 3346938 h 4629046"/>
                <a:gd name="connsiteX17" fmla="*/ 6827493 w 11804048"/>
                <a:gd name="connsiteY17" fmla="*/ 2917623 h 4629046"/>
                <a:gd name="connsiteX18" fmla="*/ 4576790 w 11804048"/>
                <a:gd name="connsiteY18" fmla="*/ 2417596 h 4629046"/>
                <a:gd name="connsiteX19" fmla="*/ 3783470 w 11804048"/>
                <a:gd name="connsiteY19" fmla="*/ 2096511 h 4629046"/>
                <a:gd name="connsiteX20" fmla="*/ 3471621 w 11804048"/>
                <a:gd name="connsiteY20" fmla="*/ 1700387 h 4629046"/>
                <a:gd name="connsiteX21" fmla="*/ 4040063 w 11804048"/>
                <a:gd name="connsiteY21" fmla="*/ 1141916 h 4629046"/>
                <a:gd name="connsiteX22" fmla="*/ 5174543 w 11804048"/>
                <a:gd name="connsiteY22" fmla="*/ 868452 h 4629046"/>
                <a:gd name="connsiteX23" fmla="*/ 6135560 w 11804048"/>
                <a:gd name="connsiteY23" fmla="*/ 531133 h 4629046"/>
                <a:gd name="connsiteX24" fmla="*/ 5983239 w 11804048"/>
                <a:gd name="connsiteY24" fmla="*/ 398731 h 4629046"/>
                <a:gd name="connsiteX25" fmla="*/ 5566157 w 11804048"/>
                <a:gd name="connsiteY25" fmla="*/ 282563 h 4629046"/>
                <a:gd name="connsiteX26" fmla="*/ 4293290 w 11804048"/>
                <a:gd name="connsiteY26" fmla="*/ 115527 h 4629046"/>
                <a:gd name="connsiteX27" fmla="*/ 2483701 w 11804048"/>
                <a:gd name="connsiteY27" fmla="*/ 0 h 4629046"/>
                <a:gd name="connsiteX28" fmla="*/ 0 w 11804048"/>
                <a:gd name="connsiteY28" fmla="*/ 306 h 4629046"/>
                <a:gd name="connsiteX0" fmla="*/ 7998011 w 11804048"/>
                <a:gd name="connsiteY0" fmla="*/ 821192 h 4629046"/>
                <a:gd name="connsiteX1" fmla="*/ 7704421 w 11804048"/>
                <a:gd name="connsiteY1" fmla="*/ 961891 h 4629046"/>
                <a:gd name="connsiteX2" fmla="*/ 6816921 w 11804048"/>
                <a:gd name="connsiteY2" fmla="*/ 1170416 h 4629046"/>
                <a:gd name="connsiteX3" fmla="*/ 5448433 w 11804048"/>
                <a:gd name="connsiteY3" fmla="*/ 1746926 h 4629046"/>
                <a:gd name="connsiteX4" fmla="*/ 5977954 w 11804048"/>
                <a:gd name="connsiteY4" fmla="*/ 1976736 h 4629046"/>
                <a:gd name="connsiteX5" fmla="*/ 7286859 w 11804048"/>
                <a:gd name="connsiteY5" fmla="*/ 2231800 h 4629046"/>
                <a:gd name="connsiteX6" fmla="*/ 9458757 w 11804048"/>
                <a:gd name="connsiteY6" fmla="*/ 2671217 h 4629046"/>
                <a:gd name="connsiteX7" fmla="*/ 11069902 w 11804048"/>
                <a:gd name="connsiteY7" fmla="*/ 3311583 h 4629046"/>
                <a:gd name="connsiteX8" fmla="*/ 11575878 w 11804048"/>
                <a:gd name="connsiteY8" fmla="*/ 3857427 h 4629046"/>
                <a:gd name="connsiteX9" fmla="*/ 11776250 w 11804048"/>
                <a:gd name="connsiteY9" fmla="*/ 4317047 h 4629046"/>
                <a:gd name="connsiteX10" fmla="*/ 11803954 w 11804048"/>
                <a:gd name="connsiteY10" fmla="*/ 4568506 h 4629046"/>
                <a:gd name="connsiteX11" fmla="*/ 11800968 w 11804048"/>
                <a:gd name="connsiteY11" fmla="*/ 4629046 h 4629046"/>
                <a:gd name="connsiteX12" fmla="*/ 9480312 w 11804048"/>
                <a:gd name="connsiteY12" fmla="*/ 4629046 h 4629046"/>
                <a:gd name="connsiteX13" fmla="*/ 9473653 w 11804048"/>
                <a:gd name="connsiteY13" fmla="*/ 4206291 h 4629046"/>
                <a:gd name="connsiteX14" fmla="*/ 9259827 w 11804048"/>
                <a:gd name="connsiteY14" fmla="*/ 3745228 h 4629046"/>
                <a:gd name="connsiteX15" fmla="*/ 8687061 w 11804048"/>
                <a:gd name="connsiteY15" fmla="*/ 3346938 h 4629046"/>
                <a:gd name="connsiteX16" fmla="*/ 6827493 w 11804048"/>
                <a:gd name="connsiteY16" fmla="*/ 2917623 h 4629046"/>
                <a:gd name="connsiteX17" fmla="*/ 4576790 w 11804048"/>
                <a:gd name="connsiteY17" fmla="*/ 2417596 h 4629046"/>
                <a:gd name="connsiteX18" fmla="*/ 3783470 w 11804048"/>
                <a:gd name="connsiteY18" fmla="*/ 2096511 h 4629046"/>
                <a:gd name="connsiteX19" fmla="*/ 3471621 w 11804048"/>
                <a:gd name="connsiteY19" fmla="*/ 1700387 h 4629046"/>
                <a:gd name="connsiteX20" fmla="*/ 4040063 w 11804048"/>
                <a:gd name="connsiteY20" fmla="*/ 1141916 h 4629046"/>
                <a:gd name="connsiteX21" fmla="*/ 5174543 w 11804048"/>
                <a:gd name="connsiteY21" fmla="*/ 868452 h 4629046"/>
                <a:gd name="connsiteX22" fmla="*/ 6135560 w 11804048"/>
                <a:gd name="connsiteY22" fmla="*/ 531133 h 4629046"/>
                <a:gd name="connsiteX23" fmla="*/ 5983239 w 11804048"/>
                <a:gd name="connsiteY23" fmla="*/ 398731 h 4629046"/>
                <a:gd name="connsiteX24" fmla="*/ 5566157 w 11804048"/>
                <a:gd name="connsiteY24" fmla="*/ 282563 h 4629046"/>
                <a:gd name="connsiteX25" fmla="*/ 4293290 w 11804048"/>
                <a:gd name="connsiteY25" fmla="*/ 115527 h 4629046"/>
                <a:gd name="connsiteX26" fmla="*/ 2483701 w 11804048"/>
                <a:gd name="connsiteY26" fmla="*/ 0 h 4629046"/>
                <a:gd name="connsiteX27" fmla="*/ 0 w 11804048"/>
                <a:gd name="connsiteY27" fmla="*/ 306 h 4629046"/>
                <a:gd name="connsiteX0" fmla="*/ 7704421 w 11804048"/>
                <a:gd name="connsiteY0" fmla="*/ 961891 h 4629046"/>
                <a:gd name="connsiteX1" fmla="*/ 6816921 w 11804048"/>
                <a:gd name="connsiteY1" fmla="*/ 1170416 h 4629046"/>
                <a:gd name="connsiteX2" fmla="*/ 5448433 w 11804048"/>
                <a:gd name="connsiteY2" fmla="*/ 1746926 h 4629046"/>
                <a:gd name="connsiteX3" fmla="*/ 5977954 w 11804048"/>
                <a:gd name="connsiteY3" fmla="*/ 1976736 h 4629046"/>
                <a:gd name="connsiteX4" fmla="*/ 7286859 w 11804048"/>
                <a:gd name="connsiteY4" fmla="*/ 2231800 h 4629046"/>
                <a:gd name="connsiteX5" fmla="*/ 9458757 w 11804048"/>
                <a:gd name="connsiteY5" fmla="*/ 2671217 h 4629046"/>
                <a:gd name="connsiteX6" fmla="*/ 11069902 w 11804048"/>
                <a:gd name="connsiteY6" fmla="*/ 3311583 h 4629046"/>
                <a:gd name="connsiteX7" fmla="*/ 11575878 w 11804048"/>
                <a:gd name="connsiteY7" fmla="*/ 3857427 h 4629046"/>
                <a:gd name="connsiteX8" fmla="*/ 11776250 w 11804048"/>
                <a:gd name="connsiteY8" fmla="*/ 4317047 h 4629046"/>
                <a:gd name="connsiteX9" fmla="*/ 11803954 w 11804048"/>
                <a:gd name="connsiteY9" fmla="*/ 4568506 h 4629046"/>
                <a:gd name="connsiteX10" fmla="*/ 11800968 w 11804048"/>
                <a:gd name="connsiteY10" fmla="*/ 4629046 h 4629046"/>
                <a:gd name="connsiteX11" fmla="*/ 9480312 w 11804048"/>
                <a:gd name="connsiteY11" fmla="*/ 4629046 h 4629046"/>
                <a:gd name="connsiteX12" fmla="*/ 9473653 w 11804048"/>
                <a:gd name="connsiteY12" fmla="*/ 4206291 h 4629046"/>
                <a:gd name="connsiteX13" fmla="*/ 9259827 w 11804048"/>
                <a:gd name="connsiteY13" fmla="*/ 3745228 h 4629046"/>
                <a:gd name="connsiteX14" fmla="*/ 8687061 w 11804048"/>
                <a:gd name="connsiteY14" fmla="*/ 3346938 h 4629046"/>
                <a:gd name="connsiteX15" fmla="*/ 6827493 w 11804048"/>
                <a:gd name="connsiteY15" fmla="*/ 2917623 h 4629046"/>
                <a:gd name="connsiteX16" fmla="*/ 4576790 w 11804048"/>
                <a:gd name="connsiteY16" fmla="*/ 2417596 h 4629046"/>
                <a:gd name="connsiteX17" fmla="*/ 3783470 w 11804048"/>
                <a:gd name="connsiteY17" fmla="*/ 2096511 h 4629046"/>
                <a:gd name="connsiteX18" fmla="*/ 3471621 w 11804048"/>
                <a:gd name="connsiteY18" fmla="*/ 1700387 h 4629046"/>
                <a:gd name="connsiteX19" fmla="*/ 4040063 w 11804048"/>
                <a:gd name="connsiteY19" fmla="*/ 1141916 h 4629046"/>
                <a:gd name="connsiteX20" fmla="*/ 5174543 w 11804048"/>
                <a:gd name="connsiteY20" fmla="*/ 868452 h 4629046"/>
                <a:gd name="connsiteX21" fmla="*/ 6135560 w 11804048"/>
                <a:gd name="connsiteY21" fmla="*/ 531133 h 4629046"/>
                <a:gd name="connsiteX22" fmla="*/ 5983239 w 11804048"/>
                <a:gd name="connsiteY22" fmla="*/ 398731 h 4629046"/>
                <a:gd name="connsiteX23" fmla="*/ 5566157 w 11804048"/>
                <a:gd name="connsiteY23" fmla="*/ 282563 h 4629046"/>
                <a:gd name="connsiteX24" fmla="*/ 4293290 w 11804048"/>
                <a:gd name="connsiteY24" fmla="*/ 115527 h 4629046"/>
                <a:gd name="connsiteX25" fmla="*/ 2483701 w 11804048"/>
                <a:gd name="connsiteY25" fmla="*/ 0 h 4629046"/>
                <a:gd name="connsiteX26" fmla="*/ 0 w 11804048"/>
                <a:gd name="connsiteY26" fmla="*/ 306 h 4629046"/>
                <a:gd name="connsiteX0" fmla="*/ 6816921 w 11804048"/>
                <a:gd name="connsiteY0" fmla="*/ 1170416 h 4629046"/>
                <a:gd name="connsiteX1" fmla="*/ 5448433 w 11804048"/>
                <a:gd name="connsiteY1" fmla="*/ 1746926 h 4629046"/>
                <a:gd name="connsiteX2" fmla="*/ 5977954 w 11804048"/>
                <a:gd name="connsiteY2" fmla="*/ 1976736 h 4629046"/>
                <a:gd name="connsiteX3" fmla="*/ 7286859 w 11804048"/>
                <a:gd name="connsiteY3" fmla="*/ 2231800 h 4629046"/>
                <a:gd name="connsiteX4" fmla="*/ 9458757 w 11804048"/>
                <a:gd name="connsiteY4" fmla="*/ 2671217 h 4629046"/>
                <a:gd name="connsiteX5" fmla="*/ 11069902 w 11804048"/>
                <a:gd name="connsiteY5" fmla="*/ 3311583 h 4629046"/>
                <a:gd name="connsiteX6" fmla="*/ 11575878 w 11804048"/>
                <a:gd name="connsiteY6" fmla="*/ 3857427 h 4629046"/>
                <a:gd name="connsiteX7" fmla="*/ 11776250 w 11804048"/>
                <a:gd name="connsiteY7" fmla="*/ 4317047 h 4629046"/>
                <a:gd name="connsiteX8" fmla="*/ 11803954 w 11804048"/>
                <a:gd name="connsiteY8" fmla="*/ 4568506 h 4629046"/>
                <a:gd name="connsiteX9" fmla="*/ 11800968 w 11804048"/>
                <a:gd name="connsiteY9" fmla="*/ 4629046 h 4629046"/>
                <a:gd name="connsiteX10" fmla="*/ 9480312 w 11804048"/>
                <a:gd name="connsiteY10" fmla="*/ 4629046 h 4629046"/>
                <a:gd name="connsiteX11" fmla="*/ 9473653 w 11804048"/>
                <a:gd name="connsiteY11" fmla="*/ 4206291 h 4629046"/>
                <a:gd name="connsiteX12" fmla="*/ 9259827 w 11804048"/>
                <a:gd name="connsiteY12" fmla="*/ 3745228 h 4629046"/>
                <a:gd name="connsiteX13" fmla="*/ 8687061 w 11804048"/>
                <a:gd name="connsiteY13" fmla="*/ 3346938 h 4629046"/>
                <a:gd name="connsiteX14" fmla="*/ 6827493 w 11804048"/>
                <a:gd name="connsiteY14" fmla="*/ 2917623 h 4629046"/>
                <a:gd name="connsiteX15" fmla="*/ 4576790 w 11804048"/>
                <a:gd name="connsiteY15" fmla="*/ 2417596 h 4629046"/>
                <a:gd name="connsiteX16" fmla="*/ 3783470 w 11804048"/>
                <a:gd name="connsiteY16" fmla="*/ 2096511 h 4629046"/>
                <a:gd name="connsiteX17" fmla="*/ 3471621 w 11804048"/>
                <a:gd name="connsiteY17" fmla="*/ 1700387 h 4629046"/>
                <a:gd name="connsiteX18" fmla="*/ 4040063 w 11804048"/>
                <a:gd name="connsiteY18" fmla="*/ 1141916 h 4629046"/>
                <a:gd name="connsiteX19" fmla="*/ 5174543 w 11804048"/>
                <a:gd name="connsiteY19" fmla="*/ 868452 h 4629046"/>
                <a:gd name="connsiteX20" fmla="*/ 6135560 w 11804048"/>
                <a:gd name="connsiteY20" fmla="*/ 531133 h 4629046"/>
                <a:gd name="connsiteX21" fmla="*/ 5983239 w 11804048"/>
                <a:gd name="connsiteY21" fmla="*/ 398731 h 4629046"/>
                <a:gd name="connsiteX22" fmla="*/ 5566157 w 11804048"/>
                <a:gd name="connsiteY22" fmla="*/ 282563 h 4629046"/>
                <a:gd name="connsiteX23" fmla="*/ 4293290 w 11804048"/>
                <a:gd name="connsiteY23" fmla="*/ 115527 h 4629046"/>
                <a:gd name="connsiteX24" fmla="*/ 2483701 w 11804048"/>
                <a:gd name="connsiteY24" fmla="*/ 0 h 4629046"/>
                <a:gd name="connsiteX25" fmla="*/ 0 w 11804048"/>
                <a:gd name="connsiteY25" fmla="*/ 306 h 4629046"/>
                <a:gd name="connsiteX0" fmla="*/ 5448433 w 11804048"/>
                <a:gd name="connsiteY0" fmla="*/ 1746926 h 4629046"/>
                <a:gd name="connsiteX1" fmla="*/ 5977954 w 11804048"/>
                <a:gd name="connsiteY1" fmla="*/ 1976736 h 4629046"/>
                <a:gd name="connsiteX2" fmla="*/ 7286859 w 11804048"/>
                <a:gd name="connsiteY2" fmla="*/ 2231800 h 4629046"/>
                <a:gd name="connsiteX3" fmla="*/ 9458757 w 11804048"/>
                <a:gd name="connsiteY3" fmla="*/ 2671217 h 4629046"/>
                <a:gd name="connsiteX4" fmla="*/ 11069902 w 11804048"/>
                <a:gd name="connsiteY4" fmla="*/ 3311583 h 4629046"/>
                <a:gd name="connsiteX5" fmla="*/ 11575878 w 11804048"/>
                <a:gd name="connsiteY5" fmla="*/ 3857427 h 4629046"/>
                <a:gd name="connsiteX6" fmla="*/ 11776250 w 11804048"/>
                <a:gd name="connsiteY6" fmla="*/ 4317047 h 4629046"/>
                <a:gd name="connsiteX7" fmla="*/ 11803954 w 11804048"/>
                <a:gd name="connsiteY7" fmla="*/ 4568506 h 4629046"/>
                <a:gd name="connsiteX8" fmla="*/ 11800968 w 11804048"/>
                <a:gd name="connsiteY8" fmla="*/ 4629046 h 4629046"/>
                <a:gd name="connsiteX9" fmla="*/ 9480312 w 11804048"/>
                <a:gd name="connsiteY9" fmla="*/ 4629046 h 4629046"/>
                <a:gd name="connsiteX10" fmla="*/ 9473653 w 11804048"/>
                <a:gd name="connsiteY10" fmla="*/ 4206291 h 4629046"/>
                <a:gd name="connsiteX11" fmla="*/ 9259827 w 11804048"/>
                <a:gd name="connsiteY11" fmla="*/ 3745228 h 4629046"/>
                <a:gd name="connsiteX12" fmla="*/ 8687061 w 11804048"/>
                <a:gd name="connsiteY12" fmla="*/ 3346938 h 4629046"/>
                <a:gd name="connsiteX13" fmla="*/ 6827493 w 11804048"/>
                <a:gd name="connsiteY13" fmla="*/ 2917623 h 4629046"/>
                <a:gd name="connsiteX14" fmla="*/ 4576790 w 11804048"/>
                <a:gd name="connsiteY14" fmla="*/ 2417596 h 4629046"/>
                <a:gd name="connsiteX15" fmla="*/ 3783470 w 11804048"/>
                <a:gd name="connsiteY15" fmla="*/ 2096511 h 4629046"/>
                <a:gd name="connsiteX16" fmla="*/ 3471621 w 11804048"/>
                <a:gd name="connsiteY16" fmla="*/ 1700387 h 4629046"/>
                <a:gd name="connsiteX17" fmla="*/ 4040063 w 11804048"/>
                <a:gd name="connsiteY17" fmla="*/ 1141916 h 4629046"/>
                <a:gd name="connsiteX18" fmla="*/ 5174543 w 11804048"/>
                <a:gd name="connsiteY18" fmla="*/ 868452 h 4629046"/>
                <a:gd name="connsiteX19" fmla="*/ 6135560 w 11804048"/>
                <a:gd name="connsiteY19" fmla="*/ 531133 h 4629046"/>
                <a:gd name="connsiteX20" fmla="*/ 5983239 w 11804048"/>
                <a:gd name="connsiteY20" fmla="*/ 398731 h 4629046"/>
                <a:gd name="connsiteX21" fmla="*/ 5566157 w 11804048"/>
                <a:gd name="connsiteY21" fmla="*/ 282563 h 4629046"/>
                <a:gd name="connsiteX22" fmla="*/ 4293290 w 11804048"/>
                <a:gd name="connsiteY22" fmla="*/ 115527 h 4629046"/>
                <a:gd name="connsiteX23" fmla="*/ 2483701 w 11804048"/>
                <a:gd name="connsiteY23" fmla="*/ 0 h 4629046"/>
                <a:gd name="connsiteX24" fmla="*/ 0 w 11804048"/>
                <a:gd name="connsiteY24" fmla="*/ 306 h 4629046"/>
                <a:gd name="connsiteX0" fmla="*/ 5977954 w 11804048"/>
                <a:gd name="connsiteY0" fmla="*/ 1976736 h 4629046"/>
                <a:gd name="connsiteX1" fmla="*/ 7286859 w 11804048"/>
                <a:gd name="connsiteY1" fmla="*/ 2231800 h 4629046"/>
                <a:gd name="connsiteX2" fmla="*/ 9458757 w 11804048"/>
                <a:gd name="connsiteY2" fmla="*/ 2671217 h 4629046"/>
                <a:gd name="connsiteX3" fmla="*/ 11069902 w 11804048"/>
                <a:gd name="connsiteY3" fmla="*/ 3311583 h 4629046"/>
                <a:gd name="connsiteX4" fmla="*/ 11575878 w 11804048"/>
                <a:gd name="connsiteY4" fmla="*/ 3857427 h 4629046"/>
                <a:gd name="connsiteX5" fmla="*/ 11776250 w 11804048"/>
                <a:gd name="connsiteY5" fmla="*/ 4317047 h 4629046"/>
                <a:gd name="connsiteX6" fmla="*/ 11803954 w 11804048"/>
                <a:gd name="connsiteY6" fmla="*/ 4568506 h 4629046"/>
                <a:gd name="connsiteX7" fmla="*/ 11800968 w 11804048"/>
                <a:gd name="connsiteY7" fmla="*/ 4629046 h 4629046"/>
                <a:gd name="connsiteX8" fmla="*/ 9480312 w 11804048"/>
                <a:gd name="connsiteY8" fmla="*/ 4629046 h 4629046"/>
                <a:gd name="connsiteX9" fmla="*/ 9473653 w 11804048"/>
                <a:gd name="connsiteY9" fmla="*/ 4206291 h 4629046"/>
                <a:gd name="connsiteX10" fmla="*/ 9259827 w 11804048"/>
                <a:gd name="connsiteY10" fmla="*/ 3745228 h 4629046"/>
                <a:gd name="connsiteX11" fmla="*/ 8687061 w 11804048"/>
                <a:gd name="connsiteY11" fmla="*/ 3346938 h 4629046"/>
                <a:gd name="connsiteX12" fmla="*/ 6827493 w 11804048"/>
                <a:gd name="connsiteY12" fmla="*/ 2917623 h 4629046"/>
                <a:gd name="connsiteX13" fmla="*/ 4576790 w 11804048"/>
                <a:gd name="connsiteY13" fmla="*/ 2417596 h 4629046"/>
                <a:gd name="connsiteX14" fmla="*/ 3783470 w 11804048"/>
                <a:gd name="connsiteY14" fmla="*/ 2096511 h 4629046"/>
                <a:gd name="connsiteX15" fmla="*/ 3471621 w 11804048"/>
                <a:gd name="connsiteY15" fmla="*/ 1700387 h 4629046"/>
                <a:gd name="connsiteX16" fmla="*/ 4040063 w 11804048"/>
                <a:gd name="connsiteY16" fmla="*/ 1141916 h 4629046"/>
                <a:gd name="connsiteX17" fmla="*/ 5174543 w 11804048"/>
                <a:gd name="connsiteY17" fmla="*/ 868452 h 4629046"/>
                <a:gd name="connsiteX18" fmla="*/ 6135560 w 11804048"/>
                <a:gd name="connsiteY18" fmla="*/ 531133 h 4629046"/>
                <a:gd name="connsiteX19" fmla="*/ 5983239 w 11804048"/>
                <a:gd name="connsiteY19" fmla="*/ 398731 h 4629046"/>
                <a:gd name="connsiteX20" fmla="*/ 5566157 w 11804048"/>
                <a:gd name="connsiteY20" fmla="*/ 282563 h 4629046"/>
                <a:gd name="connsiteX21" fmla="*/ 4293290 w 11804048"/>
                <a:gd name="connsiteY21" fmla="*/ 115527 h 4629046"/>
                <a:gd name="connsiteX22" fmla="*/ 2483701 w 11804048"/>
                <a:gd name="connsiteY22" fmla="*/ 0 h 4629046"/>
                <a:gd name="connsiteX23" fmla="*/ 0 w 11804048"/>
                <a:gd name="connsiteY23" fmla="*/ 306 h 4629046"/>
                <a:gd name="connsiteX0" fmla="*/ 7286859 w 11804048"/>
                <a:gd name="connsiteY0" fmla="*/ 2231800 h 4629046"/>
                <a:gd name="connsiteX1" fmla="*/ 9458757 w 11804048"/>
                <a:gd name="connsiteY1" fmla="*/ 2671217 h 4629046"/>
                <a:gd name="connsiteX2" fmla="*/ 11069902 w 11804048"/>
                <a:gd name="connsiteY2" fmla="*/ 3311583 h 4629046"/>
                <a:gd name="connsiteX3" fmla="*/ 11575878 w 11804048"/>
                <a:gd name="connsiteY3" fmla="*/ 3857427 h 4629046"/>
                <a:gd name="connsiteX4" fmla="*/ 11776250 w 11804048"/>
                <a:gd name="connsiteY4" fmla="*/ 4317047 h 4629046"/>
                <a:gd name="connsiteX5" fmla="*/ 11803954 w 11804048"/>
                <a:gd name="connsiteY5" fmla="*/ 4568506 h 4629046"/>
                <a:gd name="connsiteX6" fmla="*/ 11800968 w 11804048"/>
                <a:gd name="connsiteY6" fmla="*/ 4629046 h 4629046"/>
                <a:gd name="connsiteX7" fmla="*/ 9480312 w 11804048"/>
                <a:gd name="connsiteY7" fmla="*/ 4629046 h 4629046"/>
                <a:gd name="connsiteX8" fmla="*/ 9473653 w 11804048"/>
                <a:gd name="connsiteY8" fmla="*/ 4206291 h 4629046"/>
                <a:gd name="connsiteX9" fmla="*/ 9259827 w 11804048"/>
                <a:gd name="connsiteY9" fmla="*/ 3745228 h 4629046"/>
                <a:gd name="connsiteX10" fmla="*/ 8687061 w 11804048"/>
                <a:gd name="connsiteY10" fmla="*/ 3346938 h 4629046"/>
                <a:gd name="connsiteX11" fmla="*/ 6827493 w 11804048"/>
                <a:gd name="connsiteY11" fmla="*/ 2917623 h 4629046"/>
                <a:gd name="connsiteX12" fmla="*/ 4576790 w 11804048"/>
                <a:gd name="connsiteY12" fmla="*/ 2417596 h 4629046"/>
                <a:gd name="connsiteX13" fmla="*/ 3783470 w 11804048"/>
                <a:gd name="connsiteY13" fmla="*/ 2096511 h 4629046"/>
                <a:gd name="connsiteX14" fmla="*/ 3471621 w 11804048"/>
                <a:gd name="connsiteY14" fmla="*/ 1700387 h 4629046"/>
                <a:gd name="connsiteX15" fmla="*/ 4040063 w 11804048"/>
                <a:gd name="connsiteY15" fmla="*/ 1141916 h 4629046"/>
                <a:gd name="connsiteX16" fmla="*/ 5174543 w 11804048"/>
                <a:gd name="connsiteY16" fmla="*/ 868452 h 4629046"/>
                <a:gd name="connsiteX17" fmla="*/ 6135560 w 11804048"/>
                <a:gd name="connsiteY17" fmla="*/ 531133 h 4629046"/>
                <a:gd name="connsiteX18" fmla="*/ 5983239 w 11804048"/>
                <a:gd name="connsiteY18" fmla="*/ 398731 h 4629046"/>
                <a:gd name="connsiteX19" fmla="*/ 5566157 w 11804048"/>
                <a:gd name="connsiteY19" fmla="*/ 282563 h 4629046"/>
                <a:gd name="connsiteX20" fmla="*/ 4293290 w 11804048"/>
                <a:gd name="connsiteY20" fmla="*/ 115527 h 4629046"/>
                <a:gd name="connsiteX21" fmla="*/ 2483701 w 11804048"/>
                <a:gd name="connsiteY21" fmla="*/ 0 h 4629046"/>
                <a:gd name="connsiteX22" fmla="*/ 0 w 11804048"/>
                <a:gd name="connsiteY22" fmla="*/ 306 h 4629046"/>
                <a:gd name="connsiteX0" fmla="*/ 9458757 w 11804048"/>
                <a:gd name="connsiteY0" fmla="*/ 2671217 h 4629046"/>
                <a:gd name="connsiteX1" fmla="*/ 11069902 w 11804048"/>
                <a:gd name="connsiteY1" fmla="*/ 3311583 h 4629046"/>
                <a:gd name="connsiteX2" fmla="*/ 11575878 w 11804048"/>
                <a:gd name="connsiteY2" fmla="*/ 3857427 h 4629046"/>
                <a:gd name="connsiteX3" fmla="*/ 11776250 w 11804048"/>
                <a:gd name="connsiteY3" fmla="*/ 4317047 h 4629046"/>
                <a:gd name="connsiteX4" fmla="*/ 11803954 w 11804048"/>
                <a:gd name="connsiteY4" fmla="*/ 4568506 h 4629046"/>
                <a:gd name="connsiteX5" fmla="*/ 11800968 w 11804048"/>
                <a:gd name="connsiteY5" fmla="*/ 4629046 h 4629046"/>
                <a:gd name="connsiteX6" fmla="*/ 9480312 w 11804048"/>
                <a:gd name="connsiteY6" fmla="*/ 4629046 h 4629046"/>
                <a:gd name="connsiteX7" fmla="*/ 9473653 w 11804048"/>
                <a:gd name="connsiteY7" fmla="*/ 4206291 h 4629046"/>
                <a:gd name="connsiteX8" fmla="*/ 9259827 w 11804048"/>
                <a:gd name="connsiteY8" fmla="*/ 3745228 h 4629046"/>
                <a:gd name="connsiteX9" fmla="*/ 8687061 w 11804048"/>
                <a:gd name="connsiteY9" fmla="*/ 3346938 h 4629046"/>
                <a:gd name="connsiteX10" fmla="*/ 6827493 w 11804048"/>
                <a:gd name="connsiteY10" fmla="*/ 2917623 h 4629046"/>
                <a:gd name="connsiteX11" fmla="*/ 4576790 w 11804048"/>
                <a:gd name="connsiteY11" fmla="*/ 2417596 h 4629046"/>
                <a:gd name="connsiteX12" fmla="*/ 3783470 w 11804048"/>
                <a:gd name="connsiteY12" fmla="*/ 2096511 h 4629046"/>
                <a:gd name="connsiteX13" fmla="*/ 3471621 w 11804048"/>
                <a:gd name="connsiteY13" fmla="*/ 1700387 h 4629046"/>
                <a:gd name="connsiteX14" fmla="*/ 4040063 w 11804048"/>
                <a:gd name="connsiteY14" fmla="*/ 1141916 h 4629046"/>
                <a:gd name="connsiteX15" fmla="*/ 5174543 w 11804048"/>
                <a:gd name="connsiteY15" fmla="*/ 868452 h 4629046"/>
                <a:gd name="connsiteX16" fmla="*/ 6135560 w 11804048"/>
                <a:gd name="connsiteY16" fmla="*/ 531133 h 4629046"/>
                <a:gd name="connsiteX17" fmla="*/ 5983239 w 11804048"/>
                <a:gd name="connsiteY17" fmla="*/ 398731 h 4629046"/>
                <a:gd name="connsiteX18" fmla="*/ 5566157 w 11804048"/>
                <a:gd name="connsiteY18" fmla="*/ 282563 h 4629046"/>
                <a:gd name="connsiteX19" fmla="*/ 4293290 w 11804048"/>
                <a:gd name="connsiteY19" fmla="*/ 115527 h 4629046"/>
                <a:gd name="connsiteX20" fmla="*/ 2483701 w 11804048"/>
                <a:gd name="connsiteY20" fmla="*/ 0 h 4629046"/>
                <a:gd name="connsiteX21" fmla="*/ 0 w 11804048"/>
                <a:gd name="connsiteY21" fmla="*/ 306 h 4629046"/>
                <a:gd name="connsiteX0" fmla="*/ 11069902 w 11804048"/>
                <a:gd name="connsiteY0" fmla="*/ 3311583 h 4629046"/>
                <a:gd name="connsiteX1" fmla="*/ 11575878 w 11804048"/>
                <a:gd name="connsiteY1" fmla="*/ 3857427 h 4629046"/>
                <a:gd name="connsiteX2" fmla="*/ 11776250 w 11804048"/>
                <a:gd name="connsiteY2" fmla="*/ 4317047 h 4629046"/>
                <a:gd name="connsiteX3" fmla="*/ 11803954 w 11804048"/>
                <a:gd name="connsiteY3" fmla="*/ 4568506 h 4629046"/>
                <a:gd name="connsiteX4" fmla="*/ 11800968 w 11804048"/>
                <a:gd name="connsiteY4" fmla="*/ 4629046 h 4629046"/>
                <a:gd name="connsiteX5" fmla="*/ 9480312 w 11804048"/>
                <a:gd name="connsiteY5" fmla="*/ 4629046 h 4629046"/>
                <a:gd name="connsiteX6" fmla="*/ 9473653 w 11804048"/>
                <a:gd name="connsiteY6" fmla="*/ 4206291 h 4629046"/>
                <a:gd name="connsiteX7" fmla="*/ 9259827 w 11804048"/>
                <a:gd name="connsiteY7" fmla="*/ 3745228 h 4629046"/>
                <a:gd name="connsiteX8" fmla="*/ 8687061 w 11804048"/>
                <a:gd name="connsiteY8" fmla="*/ 3346938 h 4629046"/>
                <a:gd name="connsiteX9" fmla="*/ 6827493 w 11804048"/>
                <a:gd name="connsiteY9" fmla="*/ 2917623 h 4629046"/>
                <a:gd name="connsiteX10" fmla="*/ 4576790 w 11804048"/>
                <a:gd name="connsiteY10" fmla="*/ 2417596 h 4629046"/>
                <a:gd name="connsiteX11" fmla="*/ 3783470 w 11804048"/>
                <a:gd name="connsiteY11" fmla="*/ 2096511 h 4629046"/>
                <a:gd name="connsiteX12" fmla="*/ 3471621 w 11804048"/>
                <a:gd name="connsiteY12" fmla="*/ 1700387 h 4629046"/>
                <a:gd name="connsiteX13" fmla="*/ 4040063 w 11804048"/>
                <a:gd name="connsiteY13" fmla="*/ 1141916 h 4629046"/>
                <a:gd name="connsiteX14" fmla="*/ 5174543 w 11804048"/>
                <a:gd name="connsiteY14" fmla="*/ 868452 h 4629046"/>
                <a:gd name="connsiteX15" fmla="*/ 6135560 w 11804048"/>
                <a:gd name="connsiteY15" fmla="*/ 531133 h 4629046"/>
                <a:gd name="connsiteX16" fmla="*/ 5983239 w 11804048"/>
                <a:gd name="connsiteY16" fmla="*/ 398731 h 4629046"/>
                <a:gd name="connsiteX17" fmla="*/ 5566157 w 11804048"/>
                <a:gd name="connsiteY17" fmla="*/ 282563 h 4629046"/>
                <a:gd name="connsiteX18" fmla="*/ 4293290 w 11804048"/>
                <a:gd name="connsiteY18" fmla="*/ 115527 h 4629046"/>
                <a:gd name="connsiteX19" fmla="*/ 2483701 w 11804048"/>
                <a:gd name="connsiteY19" fmla="*/ 0 h 4629046"/>
                <a:gd name="connsiteX20" fmla="*/ 0 w 11804048"/>
                <a:gd name="connsiteY20" fmla="*/ 306 h 4629046"/>
                <a:gd name="connsiteX0" fmla="*/ 11575878 w 11804048"/>
                <a:gd name="connsiteY0" fmla="*/ 3857427 h 4629046"/>
                <a:gd name="connsiteX1" fmla="*/ 11776250 w 11804048"/>
                <a:gd name="connsiteY1" fmla="*/ 4317047 h 4629046"/>
                <a:gd name="connsiteX2" fmla="*/ 11803954 w 11804048"/>
                <a:gd name="connsiteY2" fmla="*/ 4568506 h 4629046"/>
                <a:gd name="connsiteX3" fmla="*/ 11800968 w 11804048"/>
                <a:gd name="connsiteY3" fmla="*/ 4629046 h 4629046"/>
                <a:gd name="connsiteX4" fmla="*/ 9480312 w 11804048"/>
                <a:gd name="connsiteY4" fmla="*/ 4629046 h 4629046"/>
                <a:gd name="connsiteX5" fmla="*/ 9473653 w 11804048"/>
                <a:gd name="connsiteY5" fmla="*/ 4206291 h 4629046"/>
                <a:gd name="connsiteX6" fmla="*/ 9259827 w 11804048"/>
                <a:gd name="connsiteY6" fmla="*/ 3745228 h 4629046"/>
                <a:gd name="connsiteX7" fmla="*/ 8687061 w 11804048"/>
                <a:gd name="connsiteY7" fmla="*/ 3346938 h 4629046"/>
                <a:gd name="connsiteX8" fmla="*/ 6827493 w 11804048"/>
                <a:gd name="connsiteY8" fmla="*/ 2917623 h 4629046"/>
                <a:gd name="connsiteX9" fmla="*/ 4576790 w 11804048"/>
                <a:gd name="connsiteY9" fmla="*/ 2417596 h 4629046"/>
                <a:gd name="connsiteX10" fmla="*/ 3783470 w 11804048"/>
                <a:gd name="connsiteY10" fmla="*/ 2096511 h 4629046"/>
                <a:gd name="connsiteX11" fmla="*/ 3471621 w 11804048"/>
                <a:gd name="connsiteY11" fmla="*/ 1700387 h 4629046"/>
                <a:gd name="connsiteX12" fmla="*/ 4040063 w 11804048"/>
                <a:gd name="connsiteY12" fmla="*/ 1141916 h 4629046"/>
                <a:gd name="connsiteX13" fmla="*/ 5174543 w 11804048"/>
                <a:gd name="connsiteY13" fmla="*/ 868452 h 4629046"/>
                <a:gd name="connsiteX14" fmla="*/ 6135560 w 11804048"/>
                <a:gd name="connsiteY14" fmla="*/ 531133 h 4629046"/>
                <a:gd name="connsiteX15" fmla="*/ 5983239 w 11804048"/>
                <a:gd name="connsiteY15" fmla="*/ 398731 h 4629046"/>
                <a:gd name="connsiteX16" fmla="*/ 5566157 w 11804048"/>
                <a:gd name="connsiteY16" fmla="*/ 282563 h 4629046"/>
                <a:gd name="connsiteX17" fmla="*/ 4293290 w 11804048"/>
                <a:gd name="connsiteY17" fmla="*/ 115527 h 4629046"/>
                <a:gd name="connsiteX18" fmla="*/ 2483701 w 11804048"/>
                <a:gd name="connsiteY18" fmla="*/ 0 h 4629046"/>
                <a:gd name="connsiteX19" fmla="*/ 0 w 11804048"/>
                <a:gd name="connsiteY19" fmla="*/ 306 h 4629046"/>
                <a:gd name="connsiteX0" fmla="*/ 11776250 w 11804048"/>
                <a:gd name="connsiteY0" fmla="*/ 4317047 h 4629046"/>
                <a:gd name="connsiteX1" fmla="*/ 11803954 w 11804048"/>
                <a:gd name="connsiteY1" fmla="*/ 4568506 h 4629046"/>
                <a:gd name="connsiteX2" fmla="*/ 11800968 w 11804048"/>
                <a:gd name="connsiteY2" fmla="*/ 4629046 h 4629046"/>
                <a:gd name="connsiteX3" fmla="*/ 9480312 w 11804048"/>
                <a:gd name="connsiteY3" fmla="*/ 4629046 h 4629046"/>
                <a:gd name="connsiteX4" fmla="*/ 9473653 w 11804048"/>
                <a:gd name="connsiteY4" fmla="*/ 4206291 h 4629046"/>
                <a:gd name="connsiteX5" fmla="*/ 9259827 w 11804048"/>
                <a:gd name="connsiteY5" fmla="*/ 3745228 h 4629046"/>
                <a:gd name="connsiteX6" fmla="*/ 8687061 w 11804048"/>
                <a:gd name="connsiteY6" fmla="*/ 3346938 h 4629046"/>
                <a:gd name="connsiteX7" fmla="*/ 6827493 w 11804048"/>
                <a:gd name="connsiteY7" fmla="*/ 2917623 h 4629046"/>
                <a:gd name="connsiteX8" fmla="*/ 4576790 w 11804048"/>
                <a:gd name="connsiteY8" fmla="*/ 2417596 h 4629046"/>
                <a:gd name="connsiteX9" fmla="*/ 3783470 w 11804048"/>
                <a:gd name="connsiteY9" fmla="*/ 2096511 h 4629046"/>
                <a:gd name="connsiteX10" fmla="*/ 3471621 w 11804048"/>
                <a:gd name="connsiteY10" fmla="*/ 1700387 h 4629046"/>
                <a:gd name="connsiteX11" fmla="*/ 4040063 w 11804048"/>
                <a:gd name="connsiteY11" fmla="*/ 1141916 h 4629046"/>
                <a:gd name="connsiteX12" fmla="*/ 5174543 w 11804048"/>
                <a:gd name="connsiteY12" fmla="*/ 868452 h 4629046"/>
                <a:gd name="connsiteX13" fmla="*/ 6135560 w 11804048"/>
                <a:gd name="connsiteY13" fmla="*/ 531133 h 4629046"/>
                <a:gd name="connsiteX14" fmla="*/ 5983239 w 11804048"/>
                <a:gd name="connsiteY14" fmla="*/ 398731 h 4629046"/>
                <a:gd name="connsiteX15" fmla="*/ 5566157 w 11804048"/>
                <a:gd name="connsiteY15" fmla="*/ 282563 h 4629046"/>
                <a:gd name="connsiteX16" fmla="*/ 4293290 w 11804048"/>
                <a:gd name="connsiteY16" fmla="*/ 115527 h 4629046"/>
                <a:gd name="connsiteX17" fmla="*/ 2483701 w 11804048"/>
                <a:gd name="connsiteY17" fmla="*/ 0 h 4629046"/>
                <a:gd name="connsiteX18" fmla="*/ 0 w 11804048"/>
                <a:gd name="connsiteY18" fmla="*/ 306 h 4629046"/>
                <a:gd name="connsiteX0" fmla="*/ 11803954 w 11803954"/>
                <a:gd name="connsiteY0" fmla="*/ 4568506 h 4629046"/>
                <a:gd name="connsiteX1" fmla="*/ 11800968 w 11803954"/>
                <a:gd name="connsiteY1" fmla="*/ 4629046 h 4629046"/>
                <a:gd name="connsiteX2" fmla="*/ 9480312 w 11803954"/>
                <a:gd name="connsiteY2" fmla="*/ 4629046 h 4629046"/>
                <a:gd name="connsiteX3" fmla="*/ 9473653 w 11803954"/>
                <a:gd name="connsiteY3" fmla="*/ 4206291 h 4629046"/>
                <a:gd name="connsiteX4" fmla="*/ 9259827 w 11803954"/>
                <a:gd name="connsiteY4" fmla="*/ 3745228 h 4629046"/>
                <a:gd name="connsiteX5" fmla="*/ 8687061 w 11803954"/>
                <a:gd name="connsiteY5" fmla="*/ 3346938 h 4629046"/>
                <a:gd name="connsiteX6" fmla="*/ 6827493 w 11803954"/>
                <a:gd name="connsiteY6" fmla="*/ 2917623 h 4629046"/>
                <a:gd name="connsiteX7" fmla="*/ 4576790 w 11803954"/>
                <a:gd name="connsiteY7" fmla="*/ 2417596 h 4629046"/>
                <a:gd name="connsiteX8" fmla="*/ 3783470 w 11803954"/>
                <a:gd name="connsiteY8" fmla="*/ 2096511 h 4629046"/>
                <a:gd name="connsiteX9" fmla="*/ 3471621 w 11803954"/>
                <a:gd name="connsiteY9" fmla="*/ 1700387 h 4629046"/>
                <a:gd name="connsiteX10" fmla="*/ 4040063 w 11803954"/>
                <a:gd name="connsiteY10" fmla="*/ 1141916 h 4629046"/>
                <a:gd name="connsiteX11" fmla="*/ 5174543 w 11803954"/>
                <a:gd name="connsiteY11" fmla="*/ 868452 h 4629046"/>
                <a:gd name="connsiteX12" fmla="*/ 6135560 w 11803954"/>
                <a:gd name="connsiteY12" fmla="*/ 531133 h 4629046"/>
                <a:gd name="connsiteX13" fmla="*/ 5983239 w 11803954"/>
                <a:gd name="connsiteY13" fmla="*/ 398731 h 4629046"/>
                <a:gd name="connsiteX14" fmla="*/ 5566157 w 11803954"/>
                <a:gd name="connsiteY14" fmla="*/ 282563 h 4629046"/>
                <a:gd name="connsiteX15" fmla="*/ 4293290 w 11803954"/>
                <a:gd name="connsiteY15" fmla="*/ 115527 h 4629046"/>
                <a:gd name="connsiteX16" fmla="*/ 2483701 w 11803954"/>
                <a:gd name="connsiteY16" fmla="*/ 0 h 4629046"/>
                <a:gd name="connsiteX17" fmla="*/ 0 w 11803954"/>
                <a:gd name="connsiteY17" fmla="*/ 306 h 4629046"/>
                <a:gd name="connsiteX0" fmla="*/ 11803954 w 11803954"/>
                <a:gd name="connsiteY0" fmla="*/ 4568506 h 4629046"/>
                <a:gd name="connsiteX1" fmla="*/ 9480312 w 11803954"/>
                <a:gd name="connsiteY1" fmla="*/ 4629046 h 4629046"/>
                <a:gd name="connsiteX2" fmla="*/ 9473653 w 11803954"/>
                <a:gd name="connsiteY2" fmla="*/ 4206291 h 4629046"/>
                <a:gd name="connsiteX3" fmla="*/ 9259827 w 11803954"/>
                <a:gd name="connsiteY3" fmla="*/ 3745228 h 4629046"/>
                <a:gd name="connsiteX4" fmla="*/ 8687061 w 11803954"/>
                <a:gd name="connsiteY4" fmla="*/ 3346938 h 4629046"/>
                <a:gd name="connsiteX5" fmla="*/ 6827493 w 11803954"/>
                <a:gd name="connsiteY5" fmla="*/ 2917623 h 4629046"/>
                <a:gd name="connsiteX6" fmla="*/ 4576790 w 11803954"/>
                <a:gd name="connsiteY6" fmla="*/ 2417596 h 4629046"/>
                <a:gd name="connsiteX7" fmla="*/ 3783470 w 11803954"/>
                <a:gd name="connsiteY7" fmla="*/ 2096511 h 4629046"/>
                <a:gd name="connsiteX8" fmla="*/ 3471621 w 11803954"/>
                <a:gd name="connsiteY8" fmla="*/ 1700387 h 4629046"/>
                <a:gd name="connsiteX9" fmla="*/ 4040063 w 11803954"/>
                <a:gd name="connsiteY9" fmla="*/ 1141916 h 4629046"/>
                <a:gd name="connsiteX10" fmla="*/ 5174543 w 11803954"/>
                <a:gd name="connsiteY10" fmla="*/ 868452 h 4629046"/>
                <a:gd name="connsiteX11" fmla="*/ 6135560 w 11803954"/>
                <a:gd name="connsiteY11" fmla="*/ 531133 h 4629046"/>
                <a:gd name="connsiteX12" fmla="*/ 5983239 w 11803954"/>
                <a:gd name="connsiteY12" fmla="*/ 398731 h 4629046"/>
                <a:gd name="connsiteX13" fmla="*/ 5566157 w 11803954"/>
                <a:gd name="connsiteY13" fmla="*/ 282563 h 4629046"/>
                <a:gd name="connsiteX14" fmla="*/ 4293290 w 11803954"/>
                <a:gd name="connsiteY14" fmla="*/ 115527 h 4629046"/>
                <a:gd name="connsiteX15" fmla="*/ 2483701 w 11803954"/>
                <a:gd name="connsiteY15" fmla="*/ 0 h 4629046"/>
                <a:gd name="connsiteX16" fmla="*/ 0 w 11803954"/>
                <a:gd name="connsiteY16" fmla="*/ 306 h 4629046"/>
                <a:gd name="connsiteX0" fmla="*/ 9480312 w 9480312"/>
                <a:gd name="connsiteY0" fmla="*/ 4629046 h 4629046"/>
                <a:gd name="connsiteX1" fmla="*/ 9473653 w 9480312"/>
                <a:gd name="connsiteY1" fmla="*/ 4206291 h 4629046"/>
                <a:gd name="connsiteX2" fmla="*/ 9259827 w 9480312"/>
                <a:gd name="connsiteY2" fmla="*/ 3745228 h 4629046"/>
                <a:gd name="connsiteX3" fmla="*/ 8687061 w 9480312"/>
                <a:gd name="connsiteY3" fmla="*/ 3346938 h 4629046"/>
                <a:gd name="connsiteX4" fmla="*/ 6827493 w 9480312"/>
                <a:gd name="connsiteY4" fmla="*/ 2917623 h 4629046"/>
                <a:gd name="connsiteX5" fmla="*/ 4576790 w 9480312"/>
                <a:gd name="connsiteY5" fmla="*/ 2417596 h 4629046"/>
                <a:gd name="connsiteX6" fmla="*/ 3783470 w 9480312"/>
                <a:gd name="connsiteY6" fmla="*/ 2096511 h 4629046"/>
                <a:gd name="connsiteX7" fmla="*/ 3471621 w 9480312"/>
                <a:gd name="connsiteY7" fmla="*/ 1700387 h 4629046"/>
                <a:gd name="connsiteX8" fmla="*/ 4040063 w 9480312"/>
                <a:gd name="connsiteY8" fmla="*/ 1141916 h 4629046"/>
                <a:gd name="connsiteX9" fmla="*/ 5174543 w 9480312"/>
                <a:gd name="connsiteY9" fmla="*/ 868452 h 4629046"/>
                <a:gd name="connsiteX10" fmla="*/ 6135560 w 9480312"/>
                <a:gd name="connsiteY10" fmla="*/ 531133 h 4629046"/>
                <a:gd name="connsiteX11" fmla="*/ 5983239 w 9480312"/>
                <a:gd name="connsiteY11" fmla="*/ 398731 h 4629046"/>
                <a:gd name="connsiteX12" fmla="*/ 5566157 w 9480312"/>
                <a:gd name="connsiteY12" fmla="*/ 282563 h 4629046"/>
                <a:gd name="connsiteX13" fmla="*/ 4293290 w 9480312"/>
                <a:gd name="connsiteY13" fmla="*/ 115527 h 4629046"/>
                <a:gd name="connsiteX14" fmla="*/ 2483701 w 9480312"/>
                <a:gd name="connsiteY14" fmla="*/ 0 h 4629046"/>
                <a:gd name="connsiteX15" fmla="*/ 0 w 9480312"/>
                <a:gd name="connsiteY15" fmla="*/ 306 h 4629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480312" h="4629046">
                  <a:moveTo>
                    <a:pt x="9480312" y="4629046"/>
                  </a:moveTo>
                  <a:lnTo>
                    <a:pt x="9473653" y="4206291"/>
                  </a:lnTo>
                  <a:cubicBezTo>
                    <a:pt x="9439537" y="4034204"/>
                    <a:pt x="9367941" y="3878713"/>
                    <a:pt x="9259827" y="3745228"/>
                  </a:cubicBezTo>
                  <a:cubicBezTo>
                    <a:pt x="9124323" y="3578192"/>
                    <a:pt x="8931639" y="3444346"/>
                    <a:pt x="8687061" y="3346938"/>
                  </a:cubicBezTo>
                  <a:cubicBezTo>
                    <a:pt x="8322835" y="3202270"/>
                    <a:pt x="7595826" y="3064095"/>
                    <a:pt x="6827493" y="2917623"/>
                  </a:cubicBezTo>
                  <a:cubicBezTo>
                    <a:pt x="6075016" y="2774036"/>
                    <a:pt x="5222113" y="2611690"/>
                    <a:pt x="4576790" y="2417596"/>
                  </a:cubicBezTo>
                  <a:cubicBezTo>
                    <a:pt x="4225538" y="2311890"/>
                    <a:pt x="3966064" y="2206907"/>
                    <a:pt x="3783470" y="2096511"/>
                  </a:cubicBezTo>
                  <a:cubicBezTo>
                    <a:pt x="3576371" y="1971325"/>
                    <a:pt x="3471621" y="1837840"/>
                    <a:pt x="3471621" y="1700387"/>
                  </a:cubicBezTo>
                  <a:cubicBezTo>
                    <a:pt x="3471621" y="1469494"/>
                    <a:pt x="3657577" y="1286945"/>
                    <a:pt x="4040063" y="1141916"/>
                  </a:cubicBezTo>
                  <a:cubicBezTo>
                    <a:pt x="4369210" y="1017089"/>
                    <a:pt x="4796863" y="938081"/>
                    <a:pt x="5174543" y="868452"/>
                  </a:cubicBezTo>
                  <a:cubicBezTo>
                    <a:pt x="5690129" y="773209"/>
                    <a:pt x="6135560" y="690954"/>
                    <a:pt x="6135560" y="531133"/>
                  </a:cubicBezTo>
                  <a:cubicBezTo>
                    <a:pt x="6135560" y="486037"/>
                    <a:pt x="6084146" y="441662"/>
                    <a:pt x="5983239" y="398731"/>
                  </a:cubicBezTo>
                  <a:cubicBezTo>
                    <a:pt x="5888099" y="358685"/>
                    <a:pt x="5747790" y="319361"/>
                    <a:pt x="5566157" y="282563"/>
                  </a:cubicBezTo>
                  <a:cubicBezTo>
                    <a:pt x="5259112" y="220871"/>
                    <a:pt x="4830979" y="164231"/>
                    <a:pt x="4293290" y="115527"/>
                  </a:cubicBezTo>
                  <a:cubicBezTo>
                    <a:pt x="3491081" y="42606"/>
                    <a:pt x="2680043" y="7803"/>
                    <a:pt x="2483701" y="0"/>
                  </a:cubicBezTo>
                  <a:lnTo>
                    <a:pt x="0" y="306"/>
                  </a:lnTo>
                </a:path>
              </a:pathLst>
            </a:custGeom>
            <a:noFill/>
            <a:ln w="6350">
              <a:solidFill>
                <a:schemeClr val="accent6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/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A786E1CE-66EA-1830-C5D6-F5461BA60978}"/>
              </a:ext>
            </a:extLst>
          </p:cNvPr>
          <p:cNvGrpSpPr>
            <a:grpSpLocks/>
          </p:cNvGrpSpPr>
          <p:nvPr/>
        </p:nvGrpSpPr>
        <p:grpSpPr>
          <a:xfrm>
            <a:off x="407989" y="1727055"/>
            <a:ext cx="9978798" cy="4286001"/>
            <a:chOff x="-61913" y="1730810"/>
            <a:chExt cx="10692479" cy="4745963"/>
          </a:xfrm>
        </p:grpSpPr>
        <p:sp>
          <p:nvSpPr>
            <p:cNvPr id="26" name="Freeform 3">
              <a:extLst>
                <a:ext uri="{FF2B5EF4-FFF2-40B4-BE49-F238E27FC236}">
                  <a16:creationId xmlns:a16="http://schemas.microsoft.com/office/drawing/2014/main" id="{0B5B42D9-4587-16B9-62A9-E4E74D0CDA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9855" y="1730906"/>
              <a:ext cx="8190711" cy="4745867"/>
            </a:xfrm>
            <a:custGeom>
              <a:avLst/>
              <a:gdLst>
                <a:gd name="T0" fmla="*/ 0 w 17184"/>
                <a:gd name="T1" fmla="*/ 0 h 13694"/>
                <a:gd name="T2" fmla="*/ 0 w 17184"/>
                <a:gd name="T3" fmla="*/ 0 h 13694"/>
                <a:gd name="T4" fmla="*/ 9269 w 17184"/>
                <a:gd name="T5" fmla="*/ 1455 h 13694"/>
                <a:gd name="T6" fmla="*/ 9269 w 17184"/>
                <a:gd name="T7" fmla="*/ 1455 h 13694"/>
                <a:gd name="T8" fmla="*/ 4878 w 17184"/>
                <a:gd name="T9" fmla="*/ 4361 h 13694"/>
                <a:gd name="T10" fmla="*/ 4878 w 17184"/>
                <a:gd name="T11" fmla="*/ 4361 h 13694"/>
                <a:gd name="T12" fmla="*/ 10208 w 17184"/>
                <a:gd name="T13" fmla="*/ 7887 h 13694"/>
                <a:gd name="T14" fmla="*/ 10208 w 17184"/>
                <a:gd name="T15" fmla="*/ 7887 h 13694"/>
                <a:gd name="T16" fmla="*/ 17183 w 17184"/>
                <a:gd name="T17" fmla="*/ 13693 h 13694"/>
                <a:gd name="connsiteX0" fmla="*/ 0 w 17163"/>
                <a:gd name="connsiteY0" fmla="*/ 0 h 13323"/>
                <a:gd name="connsiteX1" fmla="*/ 0 w 17163"/>
                <a:gd name="connsiteY1" fmla="*/ 0 h 13323"/>
                <a:gd name="connsiteX2" fmla="*/ 9269 w 17163"/>
                <a:gd name="connsiteY2" fmla="*/ 1455 h 13323"/>
                <a:gd name="connsiteX3" fmla="*/ 9269 w 17163"/>
                <a:gd name="connsiteY3" fmla="*/ 1455 h 13323"/>
                <a:gd name="connsiteX4" fmla="*/ 4878 w 17163"/>
                <a:gd name="connsiteY4" fmla="*/ 4361 h 13323"/>
                <a:gd name="connsiteX5" fmla="*/ 4878 w 17163"/>
                <a:gd name="connsiteY5" fmla="*/ 4361 h 13323"/>
                <a:gd name="connsiteX6" fmla="*/ 10208 w 17163"/>
                <a:gd name="connsiteY6" fmla="*/ 7887 h 13323"/>
                <a:gd name="connsiteX7" fmla="*/ 10208 w 17163"/>
                <a:gd name="connsiteY7" fmla="*/ 7887 h 13323"/>
                <a:gd name="connsiteX8" fmla="*/ 17163 w 17163"/>
                <a:gd name="connsiteY8" fmla="*/ 13323 h 13323"/>
                <a:gd name="connsiteX0" fmla="*/ 0 w 17183"/>
                <a:gd name="connsiteY0" fmla="*/ 0 h 13184"/>
                <a:gd name="connsiteX1" fmla="*/ 0 w 17183"/>
                <a:gd name="connsiteY1" fmla="*/ 0 h 13184"/>
                <a:gd name="connsiteX2" fmla="*/ 9269 w 17183"/>
                <a:gd name="connsiteY2" fmla="*/ 1455 h 13184"/>
                <a:gd name="connsiteX3" fmla="*/ 9269 w 17183"/>
                <a:gd name="connsiteY3" fmla="*/ 1455 h 13184"/>
                <a:gd name="connsiteX4" fmla="*/ 4878 w 17183"/>
                <a:gd name="connsiteY4" fmla="*/ 4361 h 13184"/>
                <a:gd name="connsiteX5" fmla="*/ 4878 w 17183"/>
                <a:gd name="connsiteY5" fmla="*/ 4361 h 13184"/>
                <a:gd name="connsiteX6" fmla="*/ 10208 w 17183"/>
                <a:gd name="connsiteY6" fmla="*/ 7887 h 13184"/>
                <a:gd name="connsiteX7" fmla="*/ 10208 w 17183"/>
                <a:gd name="connsiteY7" fmla="*/ 7887 h 13184"/>
                <a:gd name="connsiteX8" fmla="*/ 17183 w 17183"/>
                <a:gd name="connsiteY8" fmla="*/ 13184 h 13184"/>
                <a:gd name="connsiteX0" fmla="*/ 0 w 17183"/>
                <a:gd name="connsiteY0" fmla="*/ 0 h 13184"/>
                <a:gd name="connsiteX1" fmla="*/ 0 w 17183"/>
                <a:gd name="connsiteY1" fmla="*/ 0 h 13184"/>
                <a:gd name="connsiteX2" fmla="*/ 9269 w 17183"/>
                <a:gd name="connsiteY2" fmla="*/ 1455 h 13184"/>
                <a:gd name="connsiteX3" fmla="*/ 9269 w 17183"/>
                <a:gd name="connsiteY3" fmla="*/ 1455 h 13184"/>
                <a:gd name="connsiteX4" fmla="*/ 4878 w 17183"/>
                <a:gd name="connsiteY4" fmla="*/ 4361 h 13184"/>
                <a:gd name="connsiteX5" fmla="*/ 4878 w 17183"/>
                <a:gd name="connsiteY5" fmla="*/ 4361 h 13184"/>
                <a:gd name="connsiteX6" fmla="*/ 10208 w 17183"/>
                <a:gd name="connsiteY6" fmla="*/ 7887 h 13184"/>
                <a:gd name="connsiteX7" fmla="*/ 10208 w 17183"/>
                <a:gd name="connsiteY7" fmla="*/ 7887 h 13184"/>
                <a:gd name="connsiteX8" fmla="*/ 17183 w 17183"/>
                <a:gd name="connsiteY8" fmla="*/ 13184 h 13184"/>
                <a:gd name="connsiteX0" fmla="*/ 0 w 17044"/>
                <a:gd name="connsiteY0" fmla="*/ 0 h 13184"/>
                <a:gd name="connsiteX1" fmla="*/ 0 w 17044"/>
                <a:gd name="connsiteY1" fmla="*/ 0 h 13184"/>
                <a:gd name="connsiteX2" fmla="*/ 9269 w 17044"/>
                <a:gd name="connsiteY2" fmla="*/ 1455 h 13184"/>
                <a:gd name="connsiteX3" fmla="*/ 9269 w 17044"/>
                <a:gd name="connsiteY3" fmla="*/ 1455 h 13184"/>
                <a:gd name="connsiteX4" fmla="*/ 4878 w 17044"/>
                <a:gd name="connsiteY4" fmla="*/ 4361 h 13184"/>
                <a:gd name="connsiteX5" fmla="*/ 4878 w 17044"/>
                <a:gd name="connsiteY5" fmla="*/ 4361 h 13184"/>
                <a:gd name="connsiteX6" fmla="*/ 10208 w 17044"/>
                <a:gd name="connsiteY6" fmla="*/ 7887 h 13184"/>
                <a:gd name="connsiteX7" fmla="*/ 10208 w 17044"/>
                <a:gd name="connsiteY7" fmla="*/ 7887 h 13184"/>
                <a:gd name="connsiteX8" fmla="*/ 17044 w 17044"/>
                <a:gd name="connsiteY8" fmla="*/ 13184 h 13184"/>
                <a:gd name="connsiteX0" fmla="*/ 0 w 17044"/>
                <a:gd name="connsiteY0" fmla="*/ 0 h 13184"/>
                <a:gd name="connsiteX1" fmla="*/ 0 w 17044"/>
                <a:gd name="connsiteY1" fmla="*/ 0 h 13184"/>
                <a:gd name="connsiteX2" fmla="*/ 9269 w 17044"/>
                <a:gd name="connsiteY2" fmla="*/ 1455 h 13184"/>
                <a:gd name="connsiteX3" fmla="*/ 9269 w 17044"/>
                <a:gd name="connsiteY3" fmla="*/ 1455 h 13184"/>
                <a:gd name="connsiteX4" fmla="*/ 4878 w 17044"/>
                <a:gd name="connsiteY4" fmla="*/ 4361 h 13184"/>
                <a:gd name="connsiteX5" fmla="*/ 4878 w 17044"/>
                <a:gd name="connsiteY5" fmla="*/ 4361 h 13184"/>
                <a:gd name="connsiteX6" fmla="*/ 10208 w 17044"/>
                <a:gd name="connsiteY6" fmla="*/ 7887 h 13184"/>
                <a:gd name="connsiteX7" fmla="*/ 10218 w 17044"/>
                <a:gd name="connsiteY7" fmla="*/ 7748 h 13184"/>
                <a:gd name="connsiteX8" fmla="*/ 17044 w 17044"/>
                <a:gd name="connsiteY8" fmla="*/ 13184 h 13184"/>
                <a:gd name="connsiteX0" fmla="*/ 0 w 17044"/>
                <a:gd name="connsiteY0" fmla="*/ 0 h 13184"/>
                <a:gd name="connsiteX1" fmla="*/ 0 w 17044"/>
                <a:gd name="connsiteY1" fmla="*/ 0 h 13184"/>
                <a:gd name="connsiteX2" fmla="*/ 9269 w 17044"/>
                <a:gd name="connsiteY2" fmla="*/ 1455 h 13184"/>
                <a:gd name="connsiteX3" fmla="*/ 9269 w 17044"/>
                <a:gd name="connsiteY3" fmla="*/ 1455 h 13184"/>
                <a:gd name="connsiteX4" fmla="*/ 4878 w 17044"/>
                <a:gd name="connsiteY4" fmla="*/ 4361 h 13184"/>
                <a:gd name="connsiteX5" fmla="*/ 4878 w 17044"/>
                <a:gd name="connsiteY5" fmla="*/ 4361 h 13184"/>
                <a:gd name="connsiteX6" fmla="*/ 10208 w 17044"/>
                <a:gd name="connsiteY6" fmla="*/ 7887 h 13184"/>
                <a:gd name="connsiteX7" fmla="*/ 10218 w 17044"/>
                <a:gd name="connsiteY7" fmla="*/ 7748 h 13184"/>
                <a:gd name="connsiteX8" fmla="*/ 17044 w 17044"/>
                <a:gd name="connsiteY8" fmla="*/ 13184 h 13184"/>
                <a:gd name="connsiteX0" fmla="*/ 0 w 17044"/>
                <a:gd name="connsiteY0" fmla="*/ 0 h 13184"/>
                <a:gd name="connsiteX1" fmla="*/ 0 w 17044"/>
                <a:gd name="connsiteY1" fmla="*/ 0 h 13184"/>
                <a:gd name="connsiteX2" fmla="*/ 9269 w 17044"/>
                <a:gd name="connsiteY2" fmla="*/ 1455 h 13184"/>
                <a:gd name="connsiteX3" fmla="*/ 9269 w 17044"/>
                <a:gd name="connsiteY3" fmla="*/ 1455 h 13184"/>
                <a:gd name="connsiteX4" fmla="*/ 4878 w 17044"/>
                <a:gd name="connsiteY4" fmla="*/ 4361 h 13184"/>
                <a:gd name="connsiteX5" fmla="*/ 4878 w 17044"/>
                <a:gd name="connsiteY5" fmla="*/ 4361 h 13184"/>
                <a:gd name="connsiteX6" fmla="*/ 10218 w 17044"/>
                <a:gd name="connsiteY6" fmla="*/ 7748 h 13184"/>
                <a:gd name="connsiteX7" fmla="*/ 17044 w 17044"/>
                <a:gd name="connsiteY7" fmla="*/ 13184 h 13184"/>
                <a:gd name="connsiteX0" fmla="*/ 0 w 17044"/>
                <a:gd name="connsiteY0" fmla="*/ 0 h 13184"/>
                <a:gd name="connsiteX1" fmla="*/ 0 w 17044"/>
                <a:gd name="connsiteY1" fmla="*/ 0 h 13184"/>
                <a:gd name="connsiteX2" fmla="*/ 9269 w 17044"/>
                <a:gd name="connsiteY2" fmla="*/ 1455 h 13184"/>
                <a:gd name="connsiteX3" fmla="*/ 9269 w 17044"/>
                <a:gd name="connsiteY3" fmla="*/ 1455 h 13184"/>
                <a:gd name="connsiteX4" fmla="*/ 4878 w 17044"/>
                <a:gd name="connsiteY4" fmla="*/ 4361 h 13184"/>
                <a:gd name="connsiteX5" fmla="*/ 4878 w 17044"/>
                <a:gd name="connsiteY5" fmla="*/ 4361 h 13184"/>
                <a:gd name="connsiteX6" fmla="*/ 10218 w 17044"/>
                <a:gd name="connsiteY6" fmla="*/ 7748 h 13184"/>
                <a:gd name="connsiteX7" fmla="*/ 17044 w 17044"/>
                <a:gd name="connsiteY7" fmla="*/ 13184 h 13184"/>
                <a:gd name="connsiteX0" fmla="*/ 0 w 17044"/>
                <a:gd name="connsiteY0" fmla="*/ 0 h 13184"/>
                <a:gd name="connsiteX1" fmla="*/ 0 w 17044"/>
                <a:gd name="connsiteY1" fmla="*/ 0 h 13184"/>
                <a:gd name="connsiteX2" fmla="*/ 9269 w 17044"/>
                <a:gd name="connsiteY2" fmla="*/ 1455 h 13184"/>
                <a:gd name="connsiteX3" fmla="*/ 9269 w 17044"/>
                <a:gd name="connsiteY3" fmla="*/ 1455 h 13184"/>
                <a:gd name="connsiteX4" fmla="*/ 4878 w 17044"/>
                <a:gd name="connsiteY4" fmla="*/ 4361 h 13184"/>
                <a:gd name="connsiteX5" fmla="*/ 5165 w 17044"/>
                <a:gd name="connsiteY5" fmla="*/ 5962 h 13184"/>
                <a:gd name="connsiteX6" fmla="*/ 10218 w 17044"/>
                <a:gd name="connsiteY6" fmla="*/ 7748 h 13184"/>
                <a:gd name="connsiteX7" fmla="*/ 17044 w 17044"/>
                <a:gd name="connsiteY7" fmla="*/ 13184 h 13184"/>
                <a:gd name="connsiteX0" fmla="*/ 0 w 17044"/>
                <a:gd name="connsiteY0" fmla="*/ 0 h 13184"/>
                <a:gd name="connsiteX1" fmla="*/ 0 w 17044"/>
                <a:gd name="connsiteY1" fmla="*/ 0 h 13184"/>
                <a:gd name="connsiteX2" fmla="*/ 9269 w 17044"/>
                <a:gd name="connsiteY2" fmla="*/ 1455 h 13184"/>
                <a:gd name="connsiteX3" fmla="*/ 9269 w 17044"/>
                <a:gd name="connsiteY3" fmla="*/ 1455 h 13184"/>
                <a:gd name="connsiteX4" fmla="*/ 4878 w 17044"/>
                <a:gd name="connsiteY4" fmla="*/ 4361 h 13184"/>
                <a:gd name="connsiteX5" fmla="*/ 10218 w 17044"/>
                <a:gd name="connsiteY5" fmla="*/ 7748 h 13184"/>
                <a:gd name="connsiteX6" fmla="*/ 17044 w 17044"/>
                <a:gd name="connsiteY6" fmla="*/ 13184 h 13184"/>
                <a:gd name="connsiteX0" fmla="*/ 0 w 17044"/>
                <a:gd name="connsiteY0" fmla="*/ 0 h 13184"/>
                <a:gd name="connsiteX1" fmla="*/ 0 w 17044"/>
                <a:gd name="connsiteY1" fmla="*/ 0 h 13184"/>
                <a:gd name="connsiteX2" fmla="*/ 9269 w 17044"/>
                <a:gd name="connsiteY2" fmla="*/ 1455 h 13184"/>
                <a:gd name="connsiteX3" fmla="*/ 9269 w 17044"/>
                <a:gd name="connsiteY3" fmla="*/ 1455 h 13184"/>
                <a:gd name="connsiteX4" fmla="*/ 4878 w 17044"/>
                <a:gd name="connsiteY4" fmla="*/ 4361 h 13184"/>
                <a:gd name="connsiteX5" fmla="*/ 10218 w 17044"/>
                <a:gd name="connsiteY5" fmla="*/ 7748 h 13184"/>
                <a:gd name="connsiteX6" fmla="*/ 17044 w 17044"/>
                <a:gd name="connsiteY6" fmla="*/ 13184 h 13184"/>
                <a:gd name="connsiteX0" fmla="*/ 0 w 17044"/>
                <a:gd name="connsiteY0" fmla="*/ 0 h 13184"/>
                <a:gd name="connsiteX1" fmla="*/ 0 w 17044"/>
                <a:gd name="connsiteY1" fmla="*/ 0 h 13184"/>
                <a:gd name="connsiteX2" fmla="*/ 9269 w 17044"/>
                <a:gd name="connsiteY2" fmla="*/ 1455 h 13184"/>
                <a:gd name="connsiteX3" fmla="*/ 9269 w 17044"/>
                <a:gd name="connsiteY3" fmla="*/ 1455 h 13184"/>
                <a:gd name="connsiteX4" fmla="*/ 4878 w 17044"/>
                <a:gd name="connsiteY4" fmla="*/ 4361 h 13184"/>
                <a:gd name="connsiteX5" fmla="*/ 10218 w 17044"/>
                <a:gd name="connsiteY5" fmla="*/ 7748 h 13184"/>
                <a:gd name="connsiteX6" fmla="*/ 17044 w 17044"/>
                <a:gd name="connsiteY6" fmla="*/ 13184 h 13184"/>
                <a:gd name="connsiteX0" fmla="*/ 0 w 17044"/>
                <a:gd name="connsiteY0" fmla="*/ 0 h 13184"/>
                <a:gd name="connsiteX1" fmla="*/ 0 w 17044"/>
                <a:gd name="connsiteY1" fmla="*/ 0 h 13184"/>
                <a:gd name="connsiteX2" fmla="*/ 9269 w 17044"/>
                <a:gd name="connsiteY2" fmla="*/ 1455 h 13184"/>
                <a:gd name="connsiteX3" fmla="*/ 9269 w 17044"/>
                <a:gd name="connsiteY3" fmla="*/ 1455 h 13184"/>
                <a:gd name="connsiteX4" fmla="*/ 4878 w 17044"/>
                <a:gd name="connsiteY4" fmla="*/ 4361 h 13184"/>
                <a:gd name="connsiteX5" fmla="*/ 10218 w 17044"/>
                <a:gd name="connsiteY5" fmla="*/ 7748 h 13184"/>
                <a:gd name="connsiteX6" fmla="*/ 17044 w 17044"/>
                <a:gd name="connsiteY6" fmla="*/ 13184 h 13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044" h="13184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7668" y="142"/>
                    <a:pt x="9269" y="1455"/>
                  </a:cubicBezTo>
                  <a:lnTo>
                    <a:pt x="9269" y="1455"/>
                  </a:lnTo>
                  <a:cubicBezTo>
                    <a:pt x="10869" y="2767"/>
                    <a:pt x="6836" y="3122"/>
                    <a:pt x="4878" y="4361"/>
                  </a:cubicBezTo>
                  <a:cubicBezTo>
                    <a:pt x="2350" y="6085"/>
                    <a:pt x="8022" y="7085"/>
                    <a:pt x="10218" y="7748"/>
                  </a:cubicBezTo>
                  <a:cubicBezTo>
                    <a:pt x="16212" y="9335"/>
                    <a:pt x="17004" y="10667"/>
                    <a:pt x="17044" y="13184"/>
                  </a:cubicBezTo>
                </a:path>
              </a:pathLst>
            </a:custGeom>
            <a:noFill/>
            <a:ln w="38100" cap="flat">
              <a:solidFill>
                <a:schemeClr val="bg1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3266" dirty="0"/>
            </a:p>
          </p:txBody>
        </p:sp>
        <p:cxnSp>
          <p:nvCxnSpPr>
            <p:cNvPr id="27" name="Straight Connector 9">
              <a:extLst>
                <a:ext uri="{FF2B5EF4-FFF2-40B4-BE49-F238E27FC236}">
                  <a16:creationId xmlns:a16="http://schemas.microsoft.com/office/drawing/2014/main" id="{2B56483F-1384-9685-ED99-D68B025B071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61913" y="1730810"/>
              <a:ext cx="2376409" cy="1684"/>
            </a:xfrm>
            <a:prstGeom prst="line">
              <a:avLst/>
            </a:prstGeom>
            <a:ln w="38100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Rectangle 3">
            <a:extLst>
              <a:ext uri="{FF2B5EF4-FFF2-40B4-BE49-F238E27FC236}">
                <a16:creationId xmlns:a16="http://schemas.microsoft.com/office/drawing/2014/main" id="{2274751C-DAE5-0331-2C5E-6835E6F33523}"/>
              </a:ext>
            </a:extLst>
          </p:cNvPr>
          <p:cNvSpPr>
            <a:spLocks/>
          </p:cNvSpPr>
          <p:nvPr/>
        </p:nvSpPr>
        <p:spPr bwMode="gray">
          <a:xfrm flipH="1">
            <a:off x="8194512" y="1691362"/>
            <a:ext cx="1821778" cy="7364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/>
              <a:t>Sample tex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Lorem ipsum dolor sit </a:t>
            </a:r>
            <a:br>
              <a:rPr lang="en-US" sz="1400" dirty="0"/>
            </a:br>
            <a:r>
              <a:rPr lang="en-US" sz="1400" dirty="0" err="1"/>
              <a:t>sadipscing</a:t>
            </a:r>
            <a:r>
              <a:rPr lang="en-US" sz="1400" dirty="0"/>
              <a:t> </a:t>
            </a:r>
            <a:r>
              <a:rPr lang="en-US" sz="1400" dirty="0" err="1"/>
              <a:t>elitr</a:t>
            </a:r>
            <a:r>
              <a:rPr lang="en-US" sz="1400" dirty="0"/>
              <a:t> sed</a:t>
            </a:r>
          </a:p>
        </p:txBody>
      </p:sp>
      <p:sp>
        <p:nvSpPr>
          <p:cNvPr id="40" name="Rectangle 3">
            <a:extLst>
              <a:ext uri="{FF2B5EF4-FFF2-40B4-BE49-F238E27FC236}">
                <a16:creationId xmlns:a16="http://schemas.microsoft.com/office/drawing/2014/main" id="{9600CF76-E65D-E11C-D356-84A0400C0CC5}"/>
              </a:ext>
            </a:extLst>
          </p:cNvPr>
          <p:cNvSpPr>
            <a:spLocks/>
          </p:cNvSpPr>
          <p:nvPr/>
        </p:nvSpPr>
        <p:spPr bwMode="gray">
          <a:xfrm flipH="1">
            <a:off x="1743498" y="2634818"/>
            <a:ext cx="1821778" cy="7364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/>
              <a:t>Sample text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Lorem ipsum dolor sit </a:t>
            </a:r>
            <a:br>
              <a:rPr lang="en-US" sz="1400" dirty="0"/>
            </a:br>
            <a:r>
              <a:rPr lang="en-US" sz="1400" dirty="0" err="1"/>
              <a:t>sadipscing</a:t>
            </a:r>
            <a:r>
              <a:rPr lang="en-US" sz="1400" dirty="0"/>
              <a:t> </a:t>
            </a:r>
            <a:r>
              <a:rPr lang="en-US" sz="1400" dirty="0" err="1"/>
              <a:t>elitr</a:t>
            </a:r>
            <a:r>
              <a:rPr lang="en-US" sz="1400" dirty="0"/>
              <a:t> sed</a:t>
            </a:r>
          </a:p>
        </p:txBody>
      </p:sp>
      <p:sp>
        <p:nvSpPr>
          <p:cNvPr id="41" name="Rectangle 3">
            <a:extLst>
              <a:ext uri="{FF2B5EF4-FFF2-40B4-BE49-F238E27FC236}">
                <a16:creationId xmlns:a16="http://schemas.microsoft.com/office/drawing/2014/main" id="{08A6C0F6-2E8D-42EB-1D24-4C9FEE7C8507}"/>
              </a:ext>
            </a:extLst>
          </p:cNvPr>
          <p:cNvSpPr>
            <a:spLocks/>
          </p:cNvSpPr>
          <p:nvPr/>
        </p:nvSpPr>
        <p:spPr bwMode="gray">
          <a:xfrm flipH="1">
            <a:off x="4358564" y="4393324"/>
            <a:ext cx="1821778" cy="7364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/>
              <a:t>Sample text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Lorem ipsum dolor sit </a:t>
            </a:r>
            <a:br>
              <a:rPr lang="en-US" sz="1400" dirty="0"/>
            </a:br>
            <a:r>
              <a:rPr lang="en-US" sz="1400" dirty="0" err="1"/>
              <a:t>sadipscing</a:t>
            </a:r>
            <a:r>
              <a:rPr lang="en-US" sz="1400" dirty="0"/>
              <a:t> </a:t>
            </a:r>
            <a:r>
              <a:rPr lang="en-US" sz="1400" dirty="0" err="1"/>
              <a:t>elitr</a:t>
            </a:r>
            <a:r>
              <a:rPr lang="en-US" sz="1400" dirty="0"/>
              <a:t> sed</a:t>
            </a:r>
          </a:p>
        </p:txBody>
      </p:sp>
      <p:sp>
        <p:nvSpPr>
          <p:cNvPr id="42" name="Rectangle 3">
            <a:extLst>
              <a:ext uri="{FF2B5EF4-FFF2-40B4-BE49-F238E27FC236}">
                <a16:creationId xmlns:a16="http://schemas.microsoft.com/office/drawing/2014/main" id="{5E5901B4-F183-5724-1A9F-3F056B2BE092}"/>
              </a:ext>
            </a:extLst>
          </p:cNvPr>
          <p:cNvSpPr>
            <a:spLocks/>
          </p:cNvSpPr>
          <p:nvPr/>
        </p:nvSpPr>
        <p:spPr bwMode="gray">
          <a:xfrm flipH="1">
            <a:off x="6822259" y="4922221"/>
            <a:ext cx="1821778" cy="7364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/>
              <a:t>Sample text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Lorem ipsum dolor sit </a:t>
            </a:r>
            <a:br>
              <a:rPr lang="en-US" sz="1400" dirty="0"/>
            </a:br>
            <a:r>
              <a:rPr lang="en-US" sz="1400" dirty="0" err="1"/>
              <a:t>sadipscing</a:t>
            </a:r>
            <a:r>
              <a:rPr lang="en-US" sz="1400" dirty="0"/>
              <a:t> </a:t>
            </a:r>
            <a:r>
              <a:rPr lang="en-US" sz="1400" dirty="0" err="1"/>
              <a:t>elitr</a:t>
            </a:r>
            <a:r>
              <a:rPr lang="en-US" sz="1400" dirty="0"/>
              <a:t> sed</a:t>
            </a:r>
          </a:p>
        </p:txBody>
      </p:sp>
      <p:sp>
        <p:nvSpPr>
          <p:cNvPr id="43" name="Freeform 30">
            <a:extLst>
              <a:ext uri="{FF2B5EF4-FFF2-40B4-BE49-F238E27FC236}">
                <a16:creationId xmlns:a16="http://schemas.microsoft.com/office/drawing/2014/main" id="{4180BA48-018C-3264-F627-22A52E0EA87D}"/>
              </a:ext>
            </a:extLst>
          </p:cNvPr>
          <p:cNvSpPr>
            <a:spLocks/>
          </p:cNvSpPr>
          <p:nvPr/>
        </p:nvSpPr>
        <p:spPr bwMode="auto">
          <a:xfrm>
            <a:off x="5886957" y="3270210"/>
            <a:ext cx="583690" cy="949584"/>
          </a:xfrm>
          <a:custGeom>
            <a:avLst/>
            <a:gdLst>
              <a:gd name="T0" fmla="*/ 590 w 1181"/>
              <a:gd name="T1" fmla="*/ 933 h 1922"/>
              <a:gd name="T2" fmla="*/ 590 w 1181"/>
              <a:gd name="T3" fmla="*/ 933 h 1922"/>
              <a:gd name="T4" fmla="*/ 289 w 1181"/>
              <a:gd name="T5" fmla="*/ 632 h 1922"/>
              <a:gd name="T6" fmla="*/ 289 w 1181"/>
              <a:gd name="T7" fmla="*/ 632 h 1922"/>
              <a:gd name="T8" fmla="*/ 590 w 1181"/>
              <a:gd name="T9" fmla="*/ 331 h 1922"/>
              <a:gd name="T10" fmla="*/ 590 w 1181"/>
              <a:gd name="T11" fmla="*/ 331 h 1922"/>
              <a:gd name="T12" fmla="*/ 891 w 1181"/>
              <a:gd name="T13" fmla="*/ 632 h 1922"/>
              <a:gd name="T14" fmla="*/ 891 w 1181"/>
              <a:gd name="T15" fmla="*/ 632 h 1922"/>
              <a:gd name="T16" fmla="*/ 590 w 1181"/>
              <a:gd name="T17" fmla="*/ 933 h 1922"/>
              <a:gd name="T18" fmla="*/ 590 w 1181"/>
              <a:gd name="T19" fmla="*/ 0 h 1922"/>
              <a:gd name="T20" fmla="*/ 590 w 1181"/>
              <a:gd name="T21" fmla="*/ 0 h 1922"/>
              <a:gd name="T22" fmla="*/ 0 w 1181"/>
              <a:gd name="T23" fmla="*/ 589 h 1922"/>
              <a:gd name="T24" fmla="*/ 0 w 1181"/>
              <a:gd name="T25" fmla="*/ 589 h 1922"/>
              <a:gd name="T26" fmla="*/ 590 w 1181"/>
              <a:gd name="T27" fmla="*/ 1921 h 1922"/>
              <a:gd name="T28" fmla="*/ 590 w 1181"/>
              <a:gd name="T29" fmla="*/ 1921 h 1922"/>
              <a:gd name="T30" fmla="*/ 1180 w 1181"/>
              <a:gd name="T31" fmla="*/ 589 h 1922"/>
              <a:gd name="T32" fmla="*/ 1180 w 1181"/>
              <a:gd name="T33" fmla="*/ 589 h 1922"/>
              <a:gd name="T34" fmla="*/ 590 w 1181"/>
              <a:gd name="T35" fmla="*/ 0 h 1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2">
                <a:moveTo>
                  <a:pt x="590" y="933"/>
                </a:moveTo>
                <a:lnTo>
                  <a:pt x="590" y="933"/>
                </a:lnTo>
                <a:cubicBezTo>
                  <a:pt x="424" y="933"/>
                  <a:pt x="289" y="798"/>
                  <a:pt x="289" y="632"/>
                </a:cubicBezTo>
                <a:lnTo>
                  <a:pt x="289" y="632"/>
                </a:lnTo>
                <a:cubicBezTo>
                  <a:pt x="289" y="466"/>
                  <a:pt x="424" y="331"/>
                  <a:pt x="590" y="331"/>
                </a:cubicBezTo>
                <a:lnTo>
                  <a:pt x="590" y="331"/>
                </a:lnTo>
                <a:cubicBezTo>
                  <a:pt x="756" y="331"/>
                  <a:pt x="891" y="466"/>
                  <a:pt x="891" y="632"/>
                </a:cubicBezTo>
                <a:lnTo>
                  <a:pt x="891" y="632"/>
                </a:lnTo>
                <a:cubicBezTo>
                  <a:pt x="891" y="798"/>
                  <a:pt x="756" y="933"/>
                  <a:pt x="590" y="933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3"/>
                  <a:pt x="0" y="589"/>
                </a:cubicBezTo>
                <a:lnTo>
                  <a:pt x="0" y="589"/>
                </a:lnTo>
                <a:cubicBezTo>
                  <a:pt x="0" y="915"/>
                  <a:pt x="590" y="1921"/>
                  <a:pt x="590" y="1921"/>
                </a:cubicBezTo>
                <a:lnTo>
                  <a:pt x="590" y="1921"/>
                </a:lnTo>
                <a:cubicBezTo>
                  <a:pt x="590" y="1921"/>
                  <a:pt x="1180" y="915"/>
                  <a:pt x="1180" y="589"/>
                </a:cubicBezTo>
                <a:lnTo>
                  <a:pt x="1180" y="589"/>
                </a:lnTo>
                <a:cubicBezTo>
                  <a:pt x="1180" y="263"/>
                  <a:pt x="915" y="0"/>
                  <a:pt x="59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44" name="Freeform 31">
            <a:extLst>
              <a:ext uri="{FF2B5EF4-FFF2-40B4-BE49-F238E27FC236}">
                <a16:creationId xmlns:a16="http://schemas.microsoft.com/office/drawing/2014/main" id="{3E2AE27B-5AC8-6353-9FE4-D340CA3121CC}"/>
              </a:ext>
            </a:extLst>
          </p:cNvPr>
          <p:cNvSpPr>
            <a:spLocks/>
          </p:cNvSpPr>
          <p:nvPr/>
        </p:nvSpPr>
        <p:spPr bwMode="auto">
          <a:xfrm>
            <a:off x="3817430" y="2528232"/>
            <a:ext cx="583690" cy="949584"/>
          </a:xfrm>
          <a:custGeom>
            <a:avLst/>
            <a:gdLst>
              <a:gd name="T0" fmla="*/ 589 w 1180"/>
              <a:gd name="T1" fmla="*/ 932 h 1922"/>
              <a:gd name="T2" fmla="*/ 589 w 1180"/>
              <a:gd name="T3" fmla="*/ 932 h 1922"/>
              <a:gd name="T4" fmla="*/ 288 w 1180"/>
              <a:gd name="T5" fmla="*/ 631 h 1922"/>
              <a:gd name="T6" fmla="*/ 288 w 1180"/>
              <a:gd name="T7" fmla="*/ 631 h 1922"/>
              <a:gd name="T8" fmla="*/ 589 w 1180"/>
              <a:gd name="T9" fmla="*/ 332 h 1922"/>
              <a:gd name="T10" fmla="*/ 589 w 1180"/>
              <a:gd name="T11" fmla="*/ 332 h 1922"/>
              <a:gd name="T12" fmla="*/ 890 w 1180"/>
              <a:gd name="T13" fmla="*/ 631 h 1922"/>
              <a:gd name="T14" fmla="*/ 890 w 1180"/>
              <a:gd name="T15" fmla="*/ 631 h 1922"/>
              <a:gd name="T16" fmla="*/ 589 w 1180"/>
              <a:gd name="T17" fmla="*/ 932 h 1922"/>
              <a:gd name="T18" fmla="*/ 589 w 1180"/>
              <a:gd name="T19" fmla="*/ 0 h 1922"/>
              <a:gd name="T20" fmla="*/ 589 w 1180"/>
              <a:gd name="T21" fmla="*/ 0 h 1922"/>
              <a:gd name="T22" fmla="*/ 0 w 1180"/>
              <a:gd name="T23" fmla="*/ 589 h 1922"/>
              <a:gd name="T24" fmla="*/ 0 w 1180"/>
              <a:gd name="T25" fmla="*/ 589 h 1922"/>
              <a:gd name="T26" fmla="*/ 589 w 1180"/>
              <a:gd name="T27" fmla="*/ 1921 h 1922"/>
              <a:gd name="T28" fmla="*/ 589 w 1180"/>
              <a:gd name="T29" fmla="*/ 1921 h 1922"/>
              <a:gd name="T30" fmla="*/ 1179 w 1180"/>
              <a:gd name="T31" fmla="*/ 589 h 1922"/>
              <a:gd name="T32" fmla="*/ 1179 w 1180"/>
              <a:gd name="T33" fmla="*/ 589 h 1922"/>
              <a:gd name="T34" fmla="*/ 589 w 1180"/>
              <a:gd name="T35" fmla="*/ 0 h 1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0" h="1922">
                <a:moveTo>
                  <a:pt x="589" y="932"/>
                </a:moveTo>
                <a:lnTo>
                  <a:pt x="589" y="932"/>
                </a:lnTo>
                <a:cubicBezTo>
                  <a:pt x="423" y="932"/>
                  <a:pt x="288" y="797"/>
                  <a:pt x="288" y="631"/>
                </a:cubicBezTo>
                <a:lnTo>
                  <a:pt x="288" y="631"/>
                </a:lnTo>
                <a:cubicBezTo>
                  <a:pt x="288" y="466"/>
                  <a:pt x="423" y="332"/>
                  <a:pt x="589" y="332"/>
                </a:cubicBezTo>
                <a:lnTo>
                  <a:pt x="589" y="332"/>
                </a:lnTo>
                <a:cubicBezTo>
                  <a:pt x="756" y="332"/>
                  <a:pt x="890" y="466"/>
                  <a:pt x="890" y="631"/>
                </a:cubicBezTo>
                <a:lnTo>
                  <a:pt x="890" y="631"/>
                </a:lnTo>
                <a:cubicBezTo>
                  <a:pt x="890" y="797"/>
                  <a:pt x="756" y="932"/>
                  <a:pt x="589" y="932"/>
                </a:cubicBezTo>
                <a:close/>
                <a:moveTo>
                  <a:pt x="589" y="0"/>
                </a:moveTo>
                <a:lnTo>
                  <a:pt x="589" y="0"/>
                </a:lnTo>
                <a:cubicBezTo>
                  <a:pt x="264" y="0"/>
                  <a:pt x="0" y="264"/>
                  <a:pt x="0" y="589"/>
                </a:cubicBezTo>
                <a:lnTo>
                  <a:pt x="0" y="589"/>
                </a:lnTo>
                <a:cubicBezTo>
                  <a:pt x="0" y="914"/>
                  <a:pt x="589" y="1921"/>
                  <a:pt x="589" y="1921"/>
                </a:cubicBezTo>
                <a:lnTo>
                  <a:pt x="589" y="1921"/>
                </a:lnTo>
                <a:cubicBezTo>
                  <a:pt x="589" y="1921"/>
                  <a:pt x="1179" y="914"/>
                  <a:pt x="1179" y="589"/>
                </a:cubicBezTo>
                <a:lnTo>
                  <a:pt x="1179" y="589"/>
                </a:lnTo>
                <a:cubicBezTo>
                  <a:pt x="1179" y="264"/>
                  <a:pt x="915" y="0"/>
                  <a:pt x="589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45" name="Freeform 32">
            <a:extLst>
              <a:ext uri="{FF2B5EF4-FFF2-40B4-BE49-F238E27FC236}">
                <a16:creationId xmlns:a16="http://schemas.microsoft.com/office/drawing/2014/main" id="{0E8BB308-EB34-C968-8F04-0C5868F13845}"/>
              </a:ext>
            </a:extLst>
          </p:cNvPr>
          <p:cNvSpPr>
            <a:spLocks/>
          </p:cNvSpPr>
          <p:nvPr/>
        </p:nvSpPr>
        <p:spPr bwMode="auto">
          <a:xfrm>
            <a:off x="8753066" y="3961946"/>
            <a:ext cx="583690" cy="949584"/>
          </a:xfrm>
          <a:custGeom>
            <a:avLst/>
            <a:gdLst>
              <a:gd name="T0" fmla="*/ 590 w 1181"/>
              <a:gd name="T1" fmla="*/ 934 h 1923"/>
              <a:gd name="T2" fmla="*/ 590 w 1181"/>
              <a:gd name="T3" fmla="*/ 934 h 1923"/>
              <a:gd name="T4" fmla="*/ 289 w 1181"/>
              <a:gd name="T5" fmla="*/ 633 h 1923"/>
              <a:gd name="T6" fmla="*/ 289 w 1181"/>
              <a:gd name="T7" fmla="*/ 633 h 1923"/>
              <a:gd name="T8" fmla="*/ 590 w 1181"/>
              <a:gd name="T9" fmla="*/ 332 h 1923"/>
              <a:gd name="T10" fmla="*/ 590 w 1181"/>
              <a:gd name="T11" fmla="*/ 332 h 1923"/>
              <a:gd name="T12" fmla="*/ 891 w 1181"/>
              <a:gd name="T13" fmla="*/ 633 h 1923"/>
              <a:gd name="T14" fmla="*/ 891 w 1181"/>
              <a:gd name="T15" fmla="*/ 633 h 1923"/>
              <a:gd name="T16" fmla="*/ 590 w 1181"/>
              <a:gd name="T17" fmla="*/ 934 h 1923"/>
              <a:gd name="T18" fmla="*/ 590 w 1181"/>
              <a:gd name="T19" fmla="*/ 0 h 1923"/>
              <a:gd name="T20" fmla="*/ 590 w 1181"/>
              <a:gd name="T21" fmla="*/ 0 h 1923"/>
              <a:gd name="T22" fmla="*/ 0 w 1181"/>
              <a:gd name="T23" fmla="*/ 590 h 1923"/>
              <a:gd name="T24" fmla="*/ 0 w 1181"/>
              <a:gd name="T25" fmla="*/ 590 h 1923"/>
              <a:gd name="T26" fmla="*/ 590 w 1181"/>
              <a:gd name="T27" fmla="*/ 1922 h 1923"/>
              <a:gd name="T28" fmla="*/ 590 w 1181"/>
              <a:gd name="T29" fmla="*/ 1922 h 1923"/>
              <a:gd name="T30" fmla="*/ 1180 w 1181"/>
              <a:gd name="T31" fmla="*/ 590 h 1923"/>
              <a:gd name="T32" fmla="*/ 1180 w 1181"/>
              <a:gd name="T33" fmla="*/ 590 h 1923"/>
              <a:gd name="T34" fmla="*/ 590 w 1181"/>
              <a:gd name="T35" fmla="*/ 0 h 1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3">
                <a:moveTo>
                  <a:pt x="590" y="934"/>
                </a:moveTo>
                <a:lnTo>
                  <a:pt x="590" y="934"/>
                </a:lnTo>
                <a:cubicBezTo>
                  <a:pt x="424" y="934"/>
                  <a:pt x="289" y="799"/>
                  <a:pt x="289" y="633"/>
                </a:cubicBezTo>
                <a:lnTo>
                  <a:pt x="289" y="633"/>
                </a:lnTo>
                <a:cubicBezTo>
                  <a:pt x="289" y="467"/>
                  <a:pt x="424" y="332"/>
                  <a:pt x="590" y="332"/>
                </a:cubicBezTo>
                <a:lnTo>
                  <a:pt x="590" y="332"/>
                </a:lnTo>
                <a:cubicBezTo>
                  <a:pt x="756" y="332"/>
                  <a:pt x="891" y="467"/>
                  <a:pt x="891" y="633"/>
                </a:cubicBezTo>
                <a:lnTo>
                  <a:pt x="891" y="633"/>
                </a:lnTo>
                <a:cubicBezTo>
                  <a:pt x="891" y="799"/>
                  <a:pt x="756" y="934"/>
                  <a:pt x="590" y="934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5"/>
                  <a:pt x="0" y="590"/>
                </a:cubicBezTo>
                <a:lnTo>
                  <a:pt x="0" y="590"/>
                </a:lnTo>
                <a:cubicBezTo>
                  <a:pt x="0" y="915"/>
                  <a:pt x="590" y="1922"/>
                  <a:pt x="590" y="1922"/>
                </a:cubicBezTo>
                <a:lnTo>
                  <a:pt x="590" y="1922"/>
                </a:lnTo>
                <a:cubicBezTo>
                  <a:pt x="590" y="1922"/>
                  <a:pt x="1180" y="915"/>
                  <a:pt x="1180" y="590"/>
                </a:cubicBezTo>
                <a:lnTo>
                  <a:pt x="1180" y="590"/>
                </a:lnTo>
                <a:cubicBezTo>
                  <a:pt x="1180" y="265"/>
                  <a:pt x="915" y="0"/>
                  <a:pt x="590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46" name="Freeform 32">
            <a:extLst>
              <a:ext uri="{FF2B5EF4-FFF2-40B4-BE49-F238E27FC236}">
                <a16:creationId xmlns:a16="http://schemas.microsoft.com/office/drawing/2014/main" id="{E34E9FBF-3516-AE7C-F2B5-E16AEEBF7C8C}"/>
              </a:ext>
            </a:extLst>
          </p:cNvPr>
          <p:cNvSpPr>
            <a:spLocks/>
          </p:cNvSpPr>
          <p:nvPr/>
        </p:nvSpPr>
        <p:spPr bwMode="auto">
          <a:xfrm>
            <a:off x="7347579" y="1584776"/>
            <a:ext cx="583690" cy="949584"/>
          </a:xfrm>
          <a:custGeom>
            <a:avLst/>
            <a:gdLst>
              <a:gd name="T0" fmla="*/ 590 w 1181"/>
              <a:gd name="T1" fmla="*/ 934 h 1923"/>
              <a:gd name="T2" fmla="*/ 590 w 1181"/>
              <a:gd name="T3" fmla="*/ 934 h 1923"/>
              <a:gd name="T4" fmla="*/ 289 w 1181"/>
              <a:gd name="T5" fmla="*/ 633 h 1923"/>
              <a:gd name="T6" fmla="*/ 289 w 1181"/>
              <a:gd name="T7" fmla="*/ 633 h 1923"/>
              <a:gd name="T8" fmla="*/ 590 w 1181"/>
              <a:gd name="T9" fmla="*/ 332 h 1923"/>
              <a:gd name="T10" fmla="*/ 590 w 1181"/>
              <a:gd name="T11" fmla="*/ 332 h 1923"/>
              <a:gd name="T12" fmla="*/ 891 w 1181"/>
              <a:gd name="T13" fmla="*/ 633 h 1923"/>
              <a:gd name="T14" fmla="*/ 891 w 1181"/>
              <a:gd name="T15" fmla="*/ 633 h 1923"/>
              <a:gd name="T16" fmla="*/ 590 w 1181"/>
              <a:gd name="T17" fmla="*/ 934 h 1923"/>
              <a:gd name="T18" fmla="*/ 590 w 1181"/>
              <a:gd name="T19" fmla="*/ 0 h 1923"/>
              <a:gd name="T20" fmla="*/ 590 w 1181"/>
              <a:gd name="T21" fmla="*/ 0 h 1923"/>
              <a:gd name="T22" fmla="*/ 0 w 1181"/>
              <a:gd name="T23" fmla="*/ 590 h 1923"/>
              <a:gd name="T24" fmla="*/ 0 w 1181"/>
              <a:gd name="T25" fmla="*/ 590 h 1923"/>
              <a:gd name="T26" fmla="*/ 590 w 1181"/>
              <a:gd name="T27" fmla="*/ 1922 h 1923"/>
              <a:gd name="T28" fmla="*/ 590 w 1181"/>
              <a:gd name="T29" fmla="*/ 1922 h 1923"/>
              <a:gd name="T30" fmla="*/ 1180 w 1181"/>
              <a:gd name="T31" fmla="*/ 590 h 1923"/>
              <a:gd name="T32" fmla="*/ 1180 w 1181"/>
              <a:gd name="T33" fmla="*/ 590 h 1923"/>
              <a:gd name="T34" fmla="*/ 590 w 1181"/>
              <a:gd name="T35" fmla="*/ 0 h 1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3">
                <a:moveTo>
                  <a:pt x="590" y="934"/>
                </a:moveTo>
                <a:lnTo>
                  <a:pt x="590" y="934"/>
                </a:lnTo>
                <a:cubicBezTo>
                  <a:pt x="424" y="934"/>
                  <a:pt x="289" y="799"/>
                  <a:pt x="289" y="633"/>
                </a:cubicBezTo>
                <a:lnTo>
                  <a:pt x="289" y="633"/>
                </a:lnTo>
                <a:cubicBezTo>
                  <a:pt x="289" y="467"/>
                  <a:pt x="424" y="332"/>
                  <a:pt x="590" y="332"/>
                </a:cubicBezTo>
                <a:lnTo>
                  <a:pt x="590" y="332"/>
                </a:lnTo>
                <a:cubicBezTo>
                  <a:pt x="756" y="332"/>
                  <a:pt x="891" y="467"/>
                  <a:pt x="891" y="633"/>
                </a:cubicBezTo>
                <a:lnTo>
                  <a:pt x="891" y="633"/>
                </a:lnTo>
                <a:cubicBezTo>
                  <a:pt x="891" y="799"/>
                  <a:pt x="756" y="934"/>
                  <a:pt x="590" y="934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5"/>
                  <a:pt x="0" y="590"/>
                </a:cubicBezTo>
                <a:lnTo>
                  <a:pt x="0" y="590"/>
                </a:lnTo>
                <a:cubicBezTo>
                  <a:pt x="0" y="915"/>
                  <a:pt x="590" y="1922"/>
                  <a:pt x="590" y="1922"/>
                </a:cubicBezTo>
                <a:lnTo>
                  <a:pt x="590" y="1922"/>
                </a:lnTo>
                <a:cubicBezTo>
                  <a:pt x="590" y="1922"/>
                  <a:pt x="1180" y="915"/>
                  <a:pt x="1180" y="590"/>
                </a:cubicBezTo>
                <a:lnTo>
                  <a:pt x="1180" y="590"/>
                </a:lnTo>
                <a:cubicBezTo>
                  <a:pt x="1180" y="265"/>
                  <a:pt x="915" y="0"/>
                  <a:pt x="59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</p:spTree>
    <p:extLst>
      <p:ext uri="{BB962C8B-B14F-4D97-AF65-F5344CB8AC3E}">
        <p14:creationId xmlns:p14="http://schemas.microsoft.com/office/powerpoint/2010/main" val="17264202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0150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ilestones</a:t>
            </a:r>
          </a:p>
        </p:txBody>
      </p:sp>
      <p:sp>
        <p:nvSpPr>
          <p:cNvPr id="3" name="Freihandform: Form 14">
            <a:extLst>
              <a:ext uri="{FF2B5EF4-FFF2-40B4-BE49-F238E27FC236}">
                <a16:creationId xmlns:a16="http://schemas.microsoft.com/office/drawing/2014/main" id="{5CC097B8-28A1-AB9C-197B-6813745781E9}"/>
              </a:ext>
            </a:extLst>
          </p:cNvPr>
          <p:cNvSpPr>
            <a:spLocks/>
          </p:cNvSpPr>
          <p:nvPr/>
        </p:nvSpPr>
        <p:spPr bwMode="gray">
          <a:xfrm>
            <a:off x="4885158" y="2187887"/>
            <a:ext cx="4240594" cy="3870013"/>
          </a:xfrm>
          <a:custGeom>
            <a:avLst/>
            <a:gdLst>
              <a:gd name="connsiteX0" fmla="*/ 67851912 w 67909630"/>
              <a:gd name="connsiteY0" fmla="*/ 37389716 h 65759458"/>
              <a:gd name="connsiteX1" fmla="*/ 65997388 w 67909630"/>
              <a:gd name="connsiteY1" fmla="*/ 35234168 h 65759458"/>
              <a:gd name="connsiteX2" fmla="*/ 61720336 w 67909630"/>
              <a:gd name="connsiteY2" fmla="*/ 33890308 h 65759458"/>
              <a:gd name="connsiteX3" fmla="*/ 26255022 w 67909630"/>
              <a:gd name="connsiteY3" fmla="*/ 22786460 h 65759458"/>
              <a:gd name="connsiteX4" fmla="*/ 8240158 w 67909630"/>
              <a:gd name="connsiteY4" fmla="*/ 17145840 h 65759458"/>
              <a:gd name="connsiteX5" fmla="*/ 3801842 w 67909630"/>
              <a:gd name="connsiteY5" fmla="*/ 15757187 h 65759458"/>
              <a:gd name="connsiteX6" fmla="*/ 3337764 w 67909630"/>
              <a:gd name="connsiteY6" fmla="*/ 15612048 h 65759458"/>
              <a:gd name="connsiteX7" fmla="*/ 11377618 w 67909630"/>
              <a:gd name="connsiteY7" fmla="*/ 13325698 h 65759458"/>
              <a:gd name="connsiteX8" fmla="*/ 27795982 w 67909630"/>
              <a:gd name="connsiteY8" fmla="*/ 8658030 h 65759458"/>
              <a:gd name="connsiteX9" fmla="*/ 35409388 w 67909630"/>
              <a:gd name="connsiteY9" fmla="*/ 6491732 h 65759458"/>
              <a:gd name="connsiteX10" fmla="*/ 35954096 w 67909630"/>
              <a:gd name="connsiteY10" fmla="*/ 6258796 h 65759458"/>
              <a:gd name="connsiteX11" fmla="*/ 36133276 w 67909630"/>
              <a:gd name="connsiteY11" fmla="*/ 6113659 h 65759458"/>
              <a:gd name="connsiteX12" fmla="*/ 36242576 w 67909630"/>
              <a:gd name="connsiteY12" fmla="*/ 5972108 h 65759458"/>
              <a:gd name="connsiteX13" fmla="*/ 36333960 w 67909630"/>
              <a:gd name="connsiteY13" fmla="*/ 5703336 h 65759458"/>
              <a:gd name="connsiteX14" fmla="*/ 36290956 w 67909630"/>
              <a:gd name="connsiteY14" fmla="*/ 5364684 h 65759458"/>
              <a:gd name="connsiteX15" fmla="*/ 36165528 w 67909630"/>
              <a:gd name="connsiteY15" fmla="*/ 5163999 h 65759458"/>
              <a:gd name="connsiteX16" fmla="*/ 35964848 w 67909630"/>
              <a:gd name="connsiteY16" fmla="*/ 5006322 h 65759458"/>
              <a:gd name="connsiteX17" fmla="*/ 35803584 w 67909630"/>
              <a:gd name="connsiteY17" fmla="*/ 4929272 h 65759458"/>
              <a:gd name="connsiteX18" fmla="*/ 35660240 w 67909630"/>
              <a:gd name="connsiteY18" fmla="*/ 4879102 h 65759458"/>
              <a:gd name="connsiteX19" fmla="*/ 35520476 w 67909630"/>
              <a:gd name="connsiteY19" fmla="*/ 4841473 h 65759458"/>
              <a:gd name="connsiteX20" fmla="*/ 35389676 w 67909630"/>
              <a:gd name="connsiteY20" fmla="*/ 4812806 h 65759458"/>
              <a:gd name="connsiteX21" fmla="*/ 35275000 w 67909630"/>
              <a:gd name="connsiteY21" fmla="*/ 4791302 h 65759458"/>
              <a:gd name="connsiteX22" fmla="*/ 35149572 w 67909630"/>
              <a:gd name="connsiteY22" fmla="*/ 4769801 h 65759458"/>
              <a:gd name="connsiteX23" fmla="*/ 34918428 w 67909630"/>
              <a:gd name="connsiteY23" fmla="*/ 4732172 h 65759458"/>
              <a:gd name="connsiteX24" fmla="*/ 33088990 w 67909630"/>
              <a:gd name="connsiteY24" fmla="*/ 4427565 h 65759458"/>
              <a:gd name="connsiteX25" fmla="*/ 29534038 w 67909630"/>
              <a:gd name="connsiteY25" fmla="*/ 3836268 h 65759458"/>
              <a:gd name="connsiteX26" fmla="*/ 7308416 w 67909630"/>
              <a:gd name="connsiteY26" fmla="*/ 134386 h 65759458"/>
              <a:gd name="connsiteX27" fmla="*/ 29422946 w 67909630"/>
              <a:gd name="connsiteY27" fmla="*/ 4642582 h 65759458"/>
              <a:gd name="connsiteX28" fmla="*/ 32965354 w 67909630"/>
              <a:gd name="connsiteY28" fmla="*/ 5327055 h 65759458"/>
              <a:gd name="connsiteX29" fmla="*/ 34660408 w 67909630"/>
              <a:gd name="connsiteY29" fmla="*/ 5654956 h 65759458"/>
              <a:gd name="connsiteX30" fmla="*/ 27552294 w 67909630"/>
              <a:gd name="connsiteY30" fmla="*/ 7480812 h 65759458"/>
              <a:gd name="connsiteX31" fmla="*/ 11044341 w 67909630"/>
              <a:gd name="connsiteY31" fmla="*/ 11718443 h 65759458"/>
              <a:gd name="connsiteX32" fmla="*/ 2325390 w 67909630"/>
              <a:gd name="connsiteY32" fmla="*/ 13956416 h 65759458"/>
              <a:gd name="connsiteX33" fmla="*/ 1771721 w 67909630"/>
              <a:gd name="connsiteY33" fmla="*/ 14097968 h 65759458"/>
              <a:gd name="connsiteX34" fmla="*/ 1495782 w 67909630"/>
              <a:gd name="connsiteY34" fmla="*/ 14169642 h 65759458"/>
              <a:gd name="connsiteX35" fmla="*/ 1336311 w 67909630"/>
              <a:gd name="connsiteY35" fmla="*/ 14216228 h 65759458"/>
              <a:gd name="connsiteX36" fmla="*/ 1248511 w 67909630"/>
              <a:gd name="connsiteY36" fmla="*/ 14244898 h 65759458"/>
              <a:gd name="connsiteX37" fmla="*/ 1144587 w 67909630"/>
              <a:gd name="connsiteY37" fmla="*/ 14282524 h 65759458"/>
              <a:gd name="connsiteX38" fmla="*/ 940320 w 67909630"/>
              <a:gd name="connsiteY38" fmla="*/ 14372115 h 65759458"/>
              <a:gd name="connsiteX39" fmla="*/ 714552 w 67909630"/>
              <a:gd name="connsiteY39" fmla="*/ 14504710 h 65759458"/>
              <a:gd name="connsiteX40" fmla="*/ 422487 w 67909630"/>
              <a:gd name="connsiteY40" fmla="*/ 14777066 h 65759458"/>
              <a:gd name="connsiteX41" fmla="*/ 257640 w 67909630"/>
              <a:gd name="connsiteY41" fmla="*/ 15040462 h 65759458"/>
              <a:gd name="connsiteX42" fmla="*/ 142964 w 67909630"/>
              <a:gd name="connsiteY42" fmla="*/ 15454370 h 65759458"/>
              <a:gd name="connsiteX43" fmla="*/ 178801 w 67909630"/>
              <a:gd name="connsiteY43" fmla="*/ 15925615 h 65759458"/>
              <a:gd name="connsiteX44" fmla="*/ 322146 w 67909630"/>
              <a:gd name="connsiteY44" fmla="*/ 16267851 h 65759458"/>
              <a:gd name="connsiteX45" fmla="*/ 472658 w 67909630"/>
              <a:gd name="connsiteY45" fmla="*/ 16470327 h 65759458"/>
              <a:gd name="connsiteX46" fmla="*/ 607044 w 67909630"/>
              <a:gd name="connsiteY46" fmla="*/ 16601128 h 65759458"/>
              <a:gd name="connsiteX47" fmla="*/ 728887 w 67909630"/>
              <a:gd name="connsiteY47" fmla="*/ 16697887 h 65759458"/>
              <a:gd name="connsiteX48" fmla="*/ 841771 w 67909630"/>
              <a:gd name="connsiteY48" fmla="*/ 16774934 h 65759458"/>
              <a:gd name="connsiteX49" fmla="*/ 1040661 w 67909630"/>
              <a:gd name="connsiteY49" fmla="*/ 16884234 h 65759458"/>
              <a:gd name="connsiteX50" fmla="*/ 1223426 w 67909630"/>
              <a:gd name="connsiteY50" fmla="*/ 16966658 h 65759458"/>
              <a:gd name="connsiteX51" fmla="*/ 1397232 w 67909630"/>
              <a:gd name="connsiteY51" fmla="*/ 17031162 h 65759458"/>
              <a:gd name="connsiteX52" fmla="*/ 1676755 w 67909630"/>
              <a:gd name="connsiteY52" fmla="*/ 17127920 h 65759458"/>
              <a:gd name="connsiteX53" fmla="*/ 2223257 w 67909630"/>
              <a:gd name="connsiteY53" fmla="*/ 17314268 h 65759458"/>
              <a:gd name="connsiteX54" fmla="*/ 3318054 w 67909630"/>
              <a:gd name="connsiteY54" fmla="*/ 17688758 h 65759458"/>
              <a:gd name="connsiteX55" fmla="*/ 7725908 w 67909630"/>
              <a:gd name="connsiteY55" fmla="*/ 19193878 h 65759458"/>
              <a:gd name="connsiteX56" fmla="*/ 25624308 w 67909630"/>
              <a:gd name="connsiteY56" fmla="*/ 25302162 h 65759458"/>
              <a:gd name="connsiteX57" fmla="*/ 60858476 w 67909630"/>
              <a:gd name="connsiteY57" fmla="*/ 37328796 h 65759458"/>
              <a:gd name="connsiteX58" fmla="*/ 63770168 w 67909630"/>
              <a:gd name="connsiteY58" fmla="*/ 38323252 h 65759458"/>
              <a:gd name="connsiteX59" fmla="*/ 25706730 w 67909630"/>
              <a:gd name="connsiteY59" fmla="*/ 65737960 h 65759458"/>
              <a:gd name="connsiteX60" fmla="*/ 41415536 w 67909630"/>
              <a:gd name="connsiteY60" fmla="*/ 65737960 h 65759458"/>
              <a:gd name="connsiteX61" fmla="*/ 47670748 w 67909630"/>
              <a:gd name="connsiteY61" fmla="*/ 59473784 h 65759458"/>
              <a:gd name="connsiteX62" fmla="*/ 59063076 w 67909630"/>
              <a:gd name="connsiteY62" fmla="*/ 48061740 h 65759458"/>
              <a:gd name="connsiteX63" fmla="*/ 65282456 w 67909630"/>
              <a:gd name="connsiteY63" fmla="*/ 41831616 h 65759458"/>
              <a:gd name="connsiteX64" fmla="*/ 66882544 w 67909630"/>
              <a:gd name="connsiteY64" fmla="*/ 40229736 h 65759458"/>
              <a:gd name="connsiteX65" fmla="*/ 67590312 w 67909630"/>
              <a:gd name="connsiteY65" fmla="*/ 39238864 h 65759458"/>
              <a:gd name="connsiteX66" fmla="*/ 67667360 w 67909630"/>
              <a:gd name="connsiteY66" fmla="*/ 39065060 h 65759458"/>
              <a:gd name="connsiteX67" fmla="*/ 67739024 w 67909630"/>
              <a:gd name="connsiteY67" fmla="*/ 38867960 h 65759458"/>
              <a:gd name="connsiteX68" fmla="*/ 67801744 w 67909630"/>
              <a:gd name="connsiteY68" fmla="*/ 38661904 h 65759458"/>
              <a:gd name="connsiteX69" fmla="*/ 67850120 w 67909630"/>
              <a:gd name="connsiteY69" fmla="*/ 38428968 h 65759458"/>
              <a:gd name="connsiteX70" fmla="*/ 67894912 w 67909630"/>
              <a:gd name="connsiteY70" fmla="*/ 37927260 h 65759458"/>
              <a:gd name="connsiteX71" fmla="*/ 67851912 w 67909630"/>
              <a:gd name="connsiteY71" fmla="*/ 37389716 h 65759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67909630" h="65759458">
                <a:moveTo>
                  <a:pt x="67851912" y="37389716"/>
                </a:moveTo>
                <a:cubicBezTo>
                  <a:pt x="67552680" y="35861300"/>
                  <a:pt x="66395168" y="35373928"/>
                  <a:pt x="65997388" y="35234168"/>
                </a:cubicBezTo>
                <a:cubicBezTo>
                  <a:pt x="64585440" y="34789800"/>
                  <a:pt x="63159160" y="34343636"/>
                  <a:pt x="61720336" y="33890308"/>
                </a:cubicBezTo>
                <a:cubicBezTo>
                  <a:pt x="50401464" y="30346108"/>
                  <a:pt x="38328244" y="26567180"/>
                  <a:pt x="26255022" y="22786460"/>
                </a:cubicBezTo>
                <a:cubicBezTo>
                  <a:pt x="20218412" y="20896098"/>
                  <a:pt x="14181802" y="19007532"/>
                  <a:pt x="8240158" y="17145840"/>
                </a:cubicBezTo>
                <a:cubicBezTo>
                  <a:pt x="6754747" y="16679968"/>
                  <a:pt x="5274711" y="16217681"/>
                  <a:pt x="3801842" y="15757187"/>
                </a:cubicBezTo>
                <a:cubicBezTo>
                  <a:pt x="3647746" y="15708807"/>
                  <a:pt x="3493651" y="15660427"/>
                  <a:pt x="3337764" y="15612048"/>
                </a:cubicBezTo>
                <a:cubicBezTo>
                  <a:pt x="6052357" y="14839778"/>
                  <a:pt x="8734697" y="14078258"/>
                  <a:pt x="11377618" y="13325698"/>
                </a:cubicBezTo>
                <a:cubicBezTo>
                  <a:pt x="17071992" y="11705902"/>
                  <a:pt x="22576436" y="10141649"/>
                  <a:pt x="27795982" y="8658030"/>
                </a:cubicBezTo>
                <a:cubicBezTo>
                  <a:pt x="30408442" y="7914430"/>
                  <a:pt x="32951022" y="7190537"/>
                  <a:pt x="35409388" y="6491732"/>
                </a:cubicBezTo>
                <a:cubicBezTo>
                  <a:pt x="35581400" y="6436186"/>
                  <a:pt x="35746244" y="6386015"/>
                  <a:pt x="35954096" y="6258796"/>
                </a:cubicBezTo>
                <a:cubicBezTo>
                  <a:pt x="36013224" y="6215794"/>
                  <a:pt x="36058020" y="6192500"/>
                  <a:pt x="36133276" y="6113659"/>
                </a:cubicBezTo>
                <a:cubicBezTo>
                  <a:pt x="36163736" y="6081408"/>
                  <a:pt x="36197784" y="6047363"/>
                  <a:pt x="36242576" y="5972108"/>
                </a:cubicBezTo>
                <a:cubicBezTo>
                  <a:pt x="36278412" y="5914768"/>
                  <a:pt x="36317832" y="5834137"/>
                  <a:pt x="36333960" y="5703336"/>
                </a:cubicBezTo>
                <a:cubicBezTo>
                  <a:pt x="36353668" y="5588660"/>
                  <a:pt x="36328584" y="5472191"/>
                  <a:pt x="36290956" y="5364684"/>
                </a:cubicBezTo>
                <a:cubicBezTo>
                  <a:pt x="36253328" y="5275093"/>
                  <a:pt x="36213908" y="5226714"/>
                  <a:pt x="36165528" y="5163999"/>
                </a:cubicBezTo>
                <a:cubicBezTo>
                  <a:pt x="36093856" y="5090534"/>
                  <a:pt x="36016812" y="5033198"/>
                  <a:pt x="35964848" y="5006322"/>
                </a:cubicBezTo>
                <a:cubicBezTo>
                  <a:pt x="35903924" y="4968692"/>
                  <a:pt x="35855544" y="4950773"/>
                  <a:pt x="35803584" y="4929272"/>
                </a:cubicBezTo>
                <a:cubicBezTo>
                  <a:pt x="35751620" y="4905978"/>
                  <a:pt x="35708620" y="4895227"/>
                  <a:pt x="35660240" y="4879102"/>
                </a:cubicBezTo>
                <a:cubicBezTo>
                  <a:pt x="35613652" y="4862976"/>
                  <a:pt x="35567064" y="4852226"/>
                  <a:pt x="35520476" y="4841473"/>
                </a:cubicBezTo>
                <a:cubicBezTo>
                  <a:pt x="35473888" y="4830722"/>
                  <a:pt x="35425512" y="4818181"/>
                  <a:pt x="35389676" y="4812806"/>
                </a:cubicBezTo>
                <a:lnTo>
                  <a:pt x="35275000" y="4791302"/>
                </a:lnTo>
                <a:lnTo>
                  <a:pt x="35149572" y="4769801"/>
                </a:lnTo>
                <a:lnTo>
                  <a:pt x="34918428" y="4732172"/>
                </a:lnTo>
                <a:cubicBezTo>
                  <a:pt x="34303836" y="4630040"/>
                  <a:pt x="33692832" y="4527906"/>
                  <a:pt x="33088990" y="4427565"/>
                </a:cubicBezTo>
                <a:cubicBezTo>
                  <a:pt x="31881310" y="4226883"/>
                  <a:pt x="30695130" y="4027992"/>
                  <a:pt x="29534038" y="3836268"/>
                </a:cubicBezTo>
                <a:cubicBezTo>
                  <a:pt x="10951167" y="741810"/>
                  <a:pt x="7308416" y="134386"/>
                  <a:pt x="7308416" y="134386"/>
                </a:cubicBezTo>
                <a:cubicBezTo>
                  <a:pt x="7308416" y="134386"/>
                  <a:pt x="10906372" y="1064336"/>
                  <a:pt x="29422946" y="4642582"/>
                </a:cubicBezTo>
                <a:cubicBezTo>
                  <a:pt x="30580454" y="4866558"/>
                  <a:pt x="31761260" y="5094119"/>
                  <a:pt x="32965354" y="5327055"/>
                </a:cubicBezTo>
                <a:cubicBezTo>
                  <a:pt x="33524400" y="5434564"/>
                  <a:pt x="34090612" y="5543865"/>
                  <a:pt x="34660408" y="5654956"/>
                </a:cubicBezTo>
                <a:cubicBezTo>
                  <a:pt x="32357930" y="6246254"/>
                  <a:pt x="29987366" y="6855469"/>
                  <a:pt x="27552294" y="7480812"/>
                </a:cubicBezTo>
                <a:cubicBezTo>
                  <a:pt x="22304080" y="8828252"/>
                  <a:pt x="16769176" y="10249159"/>
                  <a:pt x="11044341" y="11718443"/>
                </a:cubicBezTo>
                <a:cubicBezTo>
                  <a:pt x="8181028" y="12453087"/>
                  <a:pt x="5271128" y="13200272"/>
                  <a:pt x="2325390" y="13956416"/>
                </a:cubicBezTo>
                <a:lnTo>
                  <a:pt x="1771721" y="14097968"/>
                </a:lnTo>
                <a:lnTo>
                  <a:pt x="1495782" y="14169642"/>
                </a:lnTo>
                <a:lnTo>
                  <a:pt x="1336311" y="14216228"/>
                </a:lnTo>
                <a:cubicBezTo>
                  <a:pt x="1318393" y="14221603"/>
                  <a:pt x="1287932" y="14230563"/>
                  <a:pt x="1248511" y="14244898"/>
                </a:cubicBezTo>
                <a:lnTo>
                  <a:pt x="1144587" y="14282524"/>
                </a:lnTo>
                <a:cubicBezTo>
                  <a:pt x="1074706" y="14305819"/>
                  <a:pt x="1008409" y="14341654"/>
                  <a:pt x="940320" y="14372115"/>
                </a:cubicBezTo>
                <a:cubicBezTo>
                  <a:pt x="874024" y="14402575"/>
                  <a:pt x="788016" y="14456330"/>
                  <a:pt x="714552" y="14504710"/>
                </a:cubicBezTo>
                <a:cubicBezTo>
                  <a:pt x="619586" y="14578175"/>
                  <a:pt x="540747" y="14631927"/>
                  <a:pt x="422487" y="14777066"/>
                </a:cubicBezTo>
                <a:cubicBezTo>
                  <a:pt x="375900" y="14829027"/>
                  <a:pt x="311394" y="14925784"/>
                  <a:pt x="257640" y="15040462"/>
                </a:cubicBezTo>
                <a:cubicBezTo>
                  <a:pt x="207470" y="15135428"/>
                  <a:pt x="160882" y="15294899"/>
                  <a:pt x="142964" y="15454370"/>
                </a:cubicBezTo>
                <a:cubicBezTo>
                  <a:pt x="121463" y="15610257"/>
                  <a:pt x="142964" y="15773312"/>
                  <a:pt x="178801" y="15925615"/>
                </a:cubicBezTo>
                <a:cubicBezTo>
                  <a:pt x="214637" y="16056419"/>
                  <a:pt x="263015" y="16160344"/>
                  <a:pt x="322146" y="16267851"/>
                </a:cubicBezTo>
                <a:cubicBezTo>
                  <a:pt x="368732" y="16343107"/>
                  <a:pt x="418904" y="16405821"/>
                  <a:pt x="472658" y="16470327"/>
                </a:cubicBezTo>
                <a:cubicBezTo>
                  <a:pt x="524620" y="16529457"/>
                  <a:pt x="560457" y="16558124"/>
                  <a:pt x="607044" y="16601128"/>
                </a:cubicBezTo>
                <a:cubicBezTo>
                  <a:pt x="653630" y="16644132"/>
                  <a:pt x="693050" y="16674593"/>
                  <a:pt x="728887" y="16697887"/>
                </a:cubicBezTo>
                <a:lnTo>
                  <a:pt x="841771" y="16774934"/>
                </a:lnTo>
                <a:cubicBezTo>
                  <a:pt x="908068" y="16814354"/>
                  <a:pt x="976157" y="16851980"/>
                  <a:pt x="1040661" y="16884234"/>
                </a:cubicBezTo>
                <a:lnTo>
                  <a:pt x="1223426" y="16966658"/>
                </a:lnTo>
                <a:lnTo>
                  <a:pt x="1397232" y="17031162"/>
                </a:lnTo>
                <a:lnTo>
                  <a:pt x="1676755" y="17127920"/>
                </a:lnTo>
                <a:lnTo>
                  <a:pt x="2223257" y="17314268"/>
                </a:lnTo>
                <a:cubicBezTo>
                  <a:pt x="2588787" y="17437904"/>
                  <a:pt x="2952524" y="17563330"/>
                  <a:pt x="3318054" y="17688758"/>
                </a:cubicBezTo>
                <a:cubicBezTo>
                  <a:pt x="4780171" y="18188672"/>
                  <a:pt x="6251247" y="18690380"/>
                  <a:pt x="7725908" y="19193878"/>
                </a:cubicBezTo>
                <a:cubicBezTo>
                  <a:pt x="13629924" y="21207874"/>
                  <a:pt x="19627116" y="23255914"/>
                  <a:pt x="25624308" y="25302162"/>
                </a:cubicBezTo>
                <a:cubicBezTo>
                  <a:pt x="37618688" y="29396450"/>
                  <a:pt x="49613068" y="33488946"/>
                  <a:pt x="60858476" y="37328796"/>
                </a:cubicBezTo>
                <a:cubicBezTo>
                  <a:pt x="61836804" y="37662076"/>
                  <a:pt x="62804380" y="37993560"/>
                  <a:pt x="63770168" y="38323252"/>
                </a:cubicBezTo>
                <a:cubicBezTo>
                  <a:pt x="63583820" y="38502436"/>
                  <a:pt x="35056400" y="59375236"/>
                  <a:pt x="25706730" y="65737960"/>
                </a:cubicBezTo>
                <a:lnTo>
                  <a:pt x="41415536" y="65737960"/>
                </a:lnTo>
                <a:cubicBezTo>
                  <a:pt x="43373984" y="63775924"/>
                  <a:pt x="45463236" y="61683092"/>
                  <a:pt x="47670748" y="59473784"/>
                </a:cubicBezTo>
                <a:cubicBezTo>
                  <a:pt x="51198824" y="55940332"/>
                  <a:pt x="55020752" y="52111236"/>
                  <a:pt x="59063076" y="48061740"/>
                </a:cubicBezTo>
                <a:cubicBezTo>
                  <a:pt x="61084240" y="46036996"/>
                  <a:pt x="63160952" y="43956708"/>
                  <a:pt x="65282456" y="41831616"/>
                </a:cubicBezTo>
                <a:cubicBezTo>
                  <a:pt x="65812832" y="41301240"/>
                  <a:pt x="66346792" y="40765492"/>
                  <a:pt x="66882544" y="40229736"/>
                </a:cubicBezTo>
                <a:cubicBezTo>
                  <a:pt x="67122648" y="39984260"/>
                  <a:pt x="67373496" y="39688612"/>
                  <a:pt x="67590312" y="39238864"/>
                </a:cubicBezTo>
                <a:lnTo>
                  <a:pt x="67667360" y="39065060"/>
                </a:lnTo>
                <a:cubicBezTo>
                  <a:pt x="67692440" y="39005932"/>
                  <a:pt x="67715736" y="38934260"/>
                  <a:pt x="67739024" y="38867960"/>
                </a:cubicBezTo>
                <a:cubicBezTo>
                  <a:pt x="67762320" y="38799876"/>
                  <a:pt x="67782032" y="38731784"/>
                  <a:pt x="67801744" y="38661904"/>
                </a:cubicBezTo>
                <a:cubicBezTo>
                  <a:pt x="67819664" y="38586648"/>
                  <a:pt x="67835784" y="38506016"/>
                  <a:pt x="67850120" y="38428968"/>
                </a:cubicBezTo>
                <a:cubicBezTo>
                  <a:pt x="67880584" y="38276664"/>
                  <a:pt x="67894912" y="38102860"/>
                  <a:pt x="67894912" y="37927260"/>
                </a:cubicBezTo>
                <a:cubicBezTo>
                  <a:pt x="67902080" y="37753452"/>
                  <a:pt x="67878792" y="37565316"/>
                  <a:pt x="67851912" y="37389716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D41F5F3-B59F-C27E-F6EC-3386FF0FF9FC}"/>
              </a:ext>
            </a:extLst>
          </p:cNvPr>
          <p:cNvSpPr>
            <a:spLocks/>
          </p:cNvSpPr>
          <p:nvPr/>
        </p:nvSpPr>
        <p:spPr bwMode="gray">
          <a:xfrm flipH="1">
            <a:off x="7142199" y="1590047"/>
            <a:ext cx="1866092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/>
              <a:t>Sample tex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Lorem ipsum dolor sit </a:t>
            </a:r>
            <a:br>
              <a:rPr lang="en-US" sz="1400" dirty="0"/>
            </a:br>
            <a:r>
              <a:rPr lang="en-US" sz="1400" dirty="0" err="1"/>
              <a:t>sadipscing</a:t>
            </a:r>
            <a:r>
              <a:rPr lang="en-US" sz="1400" dirty="0"/>
              <a:t> </a:t>
            </a:r>
            <a:r>
              <a:rPr lang="en-US" sz="1400" dirty="0" err="1"/>
              <a:t>elitr</a:t>
            </a:r>
            <a:r>
              <a:rPr lang="en-US" sz="1400" dirty="0"/>
              <a:t> sed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7A321D35-785B-E387-5997-BABD0DC50B8D}"/>
              </a:ext>
            </a:extLst>
          </p:cNvPr>
          <p:cNvSpPr>
            <a:spLocks/>
          </p:cNvSpPr>
          <p:nvPr/>
        </p:nvSpPr>
        <p:spPr bwMode="gray">
          <a:xfrm flipH="1">
            <a:off x="2896286" y="2419102"/>
            <a:ext cx="1866092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/>
              <a:t>Sample text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Lorem ipsum dolor sit </a:t>
            </a:r>
            <a:br>
              <a:rPr lang="en-US" sz="1400" dirty="0"/>
            </a:br>
            <a:r>
              <a:rPr lang="en-US" sz="1400" dirty="0" err="1"/>
              <a:t>sadipscing</a:t>
            </a:r>
            <a:r>
              <a:rPr lang="en-US" sz="1400" dirty="0"/>
              <a:t> </a:t>
            </a:r>
            <a:r>
              <a:rPr lang="en-US" sz="1400" dirty="0" err="1"/>
              <a:t>elitr</a:t>
            </a:r>
            <a:r>
              <a:rPr lang="en-US" sz="1400" dirty="0"/>
              <a:t> sed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3F882F05-14A3-B2E8-AD5F-164A692B1074}"/>
              </a:ext>
            </a:extLst>
          </p:cNvPr>
          <p:cNvSpPr>
            <a:spLocks/>
          </p:cNvSpPr>
          <p:nvPr/>
        </p:nvSpPr>
        <p:spPr bwMode="gray">
          <a:xfrm flipH="1">
            <a:off x="7948098" y="3018838"/>
            <a:ext cx="1866092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/>
              <a:t>Sample tex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Lorem ipsum dolor sit </a:t>
            </a:r>
            <a:br>
              <a:rPr lang="en-US" sz="1400" dirty="0"/>
            </a:br>
            <a:r>
              <a:rPr lang="en-US" sz="1400" dirty="0" err="1"/>
              <a:t>sadipscing</a:t>
            </a:r>
            <a:r>
              <a:rPr lang="en-US" sz="1400" dirty="0"/>
              <a:t> </a:t>
            </a:r>
            <a:r>
              <a:rPr lang="en-US" sz="1400" dirty="0" err="1"/>
              <a:t>elitr</a:t>
            </a:r>
            <a:r>
              <a:rPr lang="en-US" sz="1400" dirty="0"/>
              <a:t> sed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ECE991B0-64C2-C375-DB81-58CF7AD56AF4}"/>
              </a:ext>
            </a:extLst>
          </p:cNvPr>
          <p:cNvSpPr>
            <a:spLocks/>
          </p:cNvSpPr>
          <p:nvPr/>
        </p:nvSpPr>
        <p:spPr bwMode="gray">
          <a:xfrm flipH="1">
            <a:off x="5803582" y="4464360"/>
            <a:ext cx="1866092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/>
              <a:t>Sample text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Lorem ipsum dolor sit </a:t>
            </a:r>
            <a:br>
              <a:rPr lang="en-US" sz="1400" dirty="0"/>
            </a:br>
            <a:r>
              <a:rPr lang="en-US" sz="1400" dirty="0" err="1"/>
              <a:t>sadipscing</a:t>
            </a:r>
            <a:r>
              <a:rPr lang="en-US" sz="1400" dirty="0"/>
              <a:t> </a:t>
            </a:r>
            <a:r>
              <a:rPr lang="en-US" sz="1400" dirty="0" err="1"/>
              <a:t>elitr</a:t>
            </a:r>
            <a:r>
              <a:rPr lang="en-US" sz="1400" dirty="0"/>
              <a:t> sed</a:t>
            </a:r>
          </a:p>
        </p:txBody>
      </p:sp>
      <p:sp>
        <p:nvSpPr>
          <p:cNvPr id="26" name="Rechteck: abgerundete Ecken 20">
            <a:extLst>
              <a:ext uri="{FF2B5EF4-FFF2-40B4-BE49-F238E27FC236}">
                <a16:creationId xmlns:a16="http://schemas.microsoft.com/office/drawing/2014/main" id="{766810B5-11D4-D792-4F35-328721D88223}"/>
              </a:ext>
            </a:extLst>
          </p:cNvPr>
          <p:cNvSpPr>
            <a:spLocks/>
          </p:cNvSpPr>
          <p:nvPr/>
        </p:nvSpPr>
        <p:spPr bwMode="gray">
          <a:xfrm>
            <a:off x="6196623" y="1557338"/>
            <a:ext cx="43662" cy="804082"/>
          </a:xfrm>
          <a:prstGeom prst="roundRect">
            <a:avLst>
              <a:gd name="adj" fmla="val 59998"/>
            </a:avLst>
          </a:pr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30" name="Pfeil: Fünfeck 19">
            <a:extLst>
              <a:ext uri="{FF2B5EF4-FFF2-40B4-BE49-F238E27FC236}">
                <a16:creationId xmlns:a16="http://schemas.microsoft.com/office/drawing/2014/main" id="{71ECD695-2BAA-9C7B-F186-26FE9928EEA9}"/>
              </a:ext>
            </a:extLst>
          </p:cNvPr>
          <p:cNvSpPr>
            <a:spLocks/>
          </p:cNvSpPr>
          <p:nvPr/>
        </p:nvSpPr>
        <p:spPr bwMode="gray">
          <a:xfrm>
            <a:off x="6196622" y="1557337"/>
            <a:ext cx="680427" cy="288000"/>
          </a:xfrm>
          <a:prstGeom prst="homePlate">
            <a:avLst>
              <a:gd name="adj" fmla="val 35538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en-US" sz="1400" b="1" dirty="0">
                <a:solidFill>
                  <a:schemeClr val="bg1"/>
                </a:solidFill>
              </a:rPr>
              <a:t>2024</a:t>
            </a:r>
          </a:p>
        </p:txBody>
      </p:sp>
      <p:sp>
        <p:nvSpPr>
          <p:cNvPr id="19" name="Rechteck: abgerundete Ecken 20">
            <a:extLst>
              <a:ext uri="{FF2B5EF4-FFF2-40B4-BE49-F238E27FC236}">
                <a16:creationId xmlns:a16="http://schemas.microsoft.com/office/drawing/2014/main" id="{7E64F98F-DDB3-3203-E5D1-DC7235A57EE8}"/>
              </a:ext>
            </a:extLst>
          </p:cNvPr>
          <p:cNvSpPr>
            <a:spLocks/>
          </p:cNvSpPr>
          <p:nvPr/>
        </p:nvSpPr>
        <p:spPr bwMode="gray">
          <a:xfrm>
            <a:off x="5150308" y="2386393"/>
            <a:ext cx="43662" cy="804082"/>
          </a:xfrm>
          <a:prstGeom prst="roundRect">
            <a:avLst>
              <a:gd name="adj" fmla="val 59998"/>
            </a:avLst>
          </a:pr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20" name="Pfeil: Fünfeck 19">
            <a:extLst>
              <a:ext uri="{FF2B5EF4-FFF2-40B4-BE49-F238E27FC236}">
                <a16:creationId xmlns:a16="http://schemas.microsoft.com/office/drawing/2014/main" id="{0C0B50AF-BF0A-ECA7-2B1A-6AE872E88C1F}"/>
              </a:ext>
            </a:extLst>
          </p:cNvPr>
          <p:cNvSpPr>
            <a:spLocks/>
          </p:cNvSpPr>
          <p:nvPr/>
        </p:nvSpPr>
        <p:spPr bwMode="gray">
          <a:xfrm>
            <a:off x="5150307" y="2386392"/>
            <a:ext cx="680427" cy="288000"/>
          </a:xfrm>
          <a:prstGeom prst="homePlate">
            <a:avLst>
              <a:gd name="adj" fmla="val 35538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en-US" sz="1400" b="1" dirty="0">
                <a:solidFill>
                  <a:schemeClr val="bg1"/>
                </a:solidFill>
              </a:rPr>
              <a:t>2022</a:t>
            </a:r>
          </a:p>
        </p:txBody>
      </p:sp>
      <p:sp>
        <p:nvSpPr>
          <p:cNvPr id="22" name="Rechteck: abgerundete Ecken 20">
            <a:extLst>
              <a:ext uri="{FF2B5EF4-FFF2-40B4-BE49-F238E27FC236}">
                <a16:creationId xmlns:a16="http://schemas.microsoft.com/office/drawing/2014/main" id="{640D73E3-B855-DD2C-8E08-08686EEFDEC5}"/>
              </a:ext>
            </a:extLst>
          </p:cNvPr>
          <p:cNvSpPr>
            <a:spLocks/>
          </p:cNvSpPr>
          <p:nvPr/>
        </p:nvSpPr>
        <p:spPr bwMode="gray">
          <a:xfrm>
            <a:off x="7033173" y="2986129"/>
            <a:ext cx="43662" cy="804082"/>
          </a:xfrm>
          <a:prstGeom prst="roundRect">
            <a:avLst>
              <a:gd name="adj" fmla="val 59998"/>
            </a:avLst>
          </a:pr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23" name="Pfeil: Fünfeck 19">
            <a:extLst>
              <a:ext uri="{FF2B5EF4-FFF2-40B4-BE49-F238E27FC236}">
                <a16:creationId xmlns:a16="http://schemas.microsoft.com/office/drawing/2014/main" id="{6C465C00-58CF-4EAB-4030-73B7F0A64E75}"/>
              </a:ext>
            </a:extLst>
          </p:cNvPr>
          <p:cNvSpPr>
            <a:spLocks/>
          </p:cNvSpPr>
          <p:nvPr/>
        </p:nvSpPr>
        <p:spPr bwMode="gray">
          <a:xfrm>
            <a:off x="7033172" y="2986128"/>
            <a:ext cx="680427" cy="288000"/>
          </a:xfrm>
          <a:prstGeom prst="homePlate">
            <a:avLst>
              <a:gd name="adj" fmla="val 35538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en-US" sz="1400" b="1" dirty="0">
                <a:solidFill>
                  <a:schemeClr val="bg1"/>
                </a:solidFill>
              </a:rPr>
              <a:t>2020</a:t>
            </a:r>
          </a:p>
        </p:txBody>
      </p:sp>
      <p:sp>
        <p:nvSpPr>
          <p:cNvPr id="38" name="Rechteck: abgerundete Ecken 20">
            <a:extLst>
              <a:ext uri="{FF2B5EF4-FFF2-40B4-BE49-F238E27FC236}">
                <a16:creationId xmlns:a16="http://schemas.microsoft.com/office/drawing/2014/main" id="{81B6C537-58E1-E405-38E9-1AE422AB826E}"/>
              </a:ext>
            </a:extLst>
          </p:cNvPr>
          <p:cNvSpPr>
            <a:spLocks/>
          </p:cNvSpPr>
          <p:nvPr/>
        </p:nvSpPr>
        <p:spPr bwMode="gray">
          <a:xfrm>
            <a:off x="8089971" y="4431651"/>
            <a:ext cx="43662" cy="804082"/>
          </a:xfrm>
          <a:prstGeom prst="roundRect">
            <a:avLst>
              <a:gd name="adj" fmla="val 59998"/>
            </a:avLst>
          </a:pr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39" name="Pfeil: Fünfeck 19">
            <a:extLst>
              <a:ext uri="{FF2B5EF4-FFF2-40B4-BE49-F238E27FC236}">
                <a16:creationId xmlns:a16="http://schemas.microsoft.com/office/drawing/2014/main" id="{4D090EA0-B732-3D6F-1597-AA1F3FCACA7C}"/>
              </a:ext>
            </a:extLst>
          </p:cNvPr>
          <p:cNvSpPr>
            <a:spLocks/>
          </p:cNvSpPr>
          <p:nvPr/>
        </p:nvSpPr>
        <p:spPr bwMode="gray">
          <a:xfrm>
            <a:off x="8089970" y="4431650"/>
            <a:ext cx="680427" cy="288000"/>
          </a:xfrm>
          <a:prstGeom prst="homePlate">
            <a:avLst>
              <a:gd name="adj" fmla="val 35538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en-US" sz="1400" b="1" dirty="0">
                <a:solidFill>
                  <a:schemeClr val="bg1"/>
                </a:solidFill>
              </a:rPr>
              <a:t>2018</a:t>
            </a:r>
          </a:p>
        </p:txBody>
      </p:sp>
    </p:spTree>
    <p:extLst>
      <p:ext uri="{BB962C8B-B14F-4D97-AF65-F5344CB8AC3E}">
        <p14:creationId xmlns:p14="http://schemas.microsoft.com/office/powerpoint/2010/main" val="7474787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print planning</a:t>
            </a:r>
          </a:p>
        </p:txBody>
      </p:sp>
      <p:pic>
        <p:nvPicPr>
          <p:cNvPr id="29" name="Grafik 16">
            <a:extLst>
              <a:ext uri="{FF2B5EF4-FFF2-40B4-BE49-F238E27FC236}">
                <a16:creationId xmlns:a16="http://schemas.microsoft.com/office/drawing/2014/main" id="{8F25B329-B35D-D3BC-3461-885B1073B39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19458" y="5456948"/>
            <a:ext cx="600952" cy="600952"/>
          </a:xfrm>
          <a:prstGeom prst="rect">
            <a:avLst/>
          </a:prstGeom>
        </p:spPr>
      </p:pic>
      <p:pic>
        <p:nvPicPr>
          <p:cNvPr id="30" name="Grafik 18">
            <a:extLst>
              <a:ext uri="{FF2B5EF4-FFF2-40B4-BE49-F238E27FC236}">
                <a16:creationId xmlns:a16="http://schemas.microsoft.com/office/drawing/2014/main" id="{E9BEA578-0247-80E1-1844-29DFE35DADD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15634" y="5456948"/>
            <a:ext cx="600952" cy="600952"/>
          </a:xfrm>
          <a:prstGeom prst="rect">
            <a:avLst/>
          </a:prstGeom>
        </p:spPr>
      </p:pic>
      <p:pic>
        <p:nvPicPr>
          <p:cNvPr id="31" name="Grafik 20">
            <a:extLst>
              <a:ext uri="{FF2B5EF4-FFF2-40B4-BE49-F238E27FC236}">
                <a16:creationId xmlns:a16="http://schemas.microsoft.com/office/drawing/2014/main" id="{DA51130C-1A6D-E884-E849-00A616C58CA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11811" y="5456948"/>
            <a:ext cx="600952" cy="600952"/>
          </a:xfrm>
          <a:prstGeom prst="rect">
            <a:avLst/>
          </a:prstGeom>
        </p:spPr>
      </p:pic>
      <p:cxnSp>
        <p:nvCxnSpPr>
          <p:cNvPr id="32" name="Gerader Verbinder 13">
            <a:extLst>
              <a:ext uri="{FF2B5EF4-FFF2-40B4-BE49-F238E27FC236}">
                <a16:creationId xmlns:a16="http://schemas.microsoft.com/office/drawing/2014/main" id="{B03F7F37-9FEC-26D0-E2AD-95A2E6482643}"/>
              </a:ext>
            </a:extLst>
          </p:cNvPr>
          <p:cNvCxnSpPr>
            <a:cxnSpLocks/>
          </p:cNvCxnSpPr>
          <p:nvPr/>
        </p:nvCxnSpPr>
        <p:spPr>
          <a:xfrm>
            <a:off x="4312288" y="3614227"/>
            <a:ext cx="0" cy="184135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14">
            <a:extLst>
              <a:ext uri="{FF2B5EF4-FFF2-40B4-BE49-F238E27FC236}">
                <a16:creationId xmlns:a16="http://schemas.microsoft.com/office/drawing/2014/main" id="{8D88ACED-069B-8575-6E72-00ACB6B116E8}"/>
              </a:ext>
            </a:extLst>
          </p:cNvPr>
          <p:cNvCxnSpPr>
            <a:cxnSpLocks/>
          </p:cNvCxnSpPr>
          <p:nvPr/>
        </p:nvCxnSpPr>
        <p:spPr>
          <a:xfrm>
            <a:off x="7916110" y="3614227"/>
            <a:ext cx="0" cy="184135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21">
            <a:extLst>
              <a:ext uri="{FF2B5EF4-FFF2-40B4-BE49-F238E27FC236}">
                <a16:creationId xmlns:a16="http://schemas.microsoft.com/office/drawing/2014/main" id="{915F0731-59EE-8968-EBD4-F17FA30E083A}"/>
              </a:ext>
            </a:extLst>
          </p:cNvPr>
          <p:cNvCxnSpPr>
            <a:cxnSpLocks/>
          </p:cNvCxnSpPr>
          <p:nvPr/>
        </p:nvCxnSpPr>
        <p:spPr>
          <a:xfrm>
            <a:off x="11519934" y="3614227"/>
            <a:ext cx="0" cy="184135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22">
            <a:extLst>
              <a:ext uri="{FF2B5EF4-FFF2-40B4-BE49-F238E27FC236}">
                <a16:creationId xmlns:a16="http://schemas.microsoft.com/office/drawing/2014/main" id="{D3C1DC5B-81F3-AF58-8EF2-12A2D2957C20}"/>
              </a:ext>
            </a:extLst>
          </p:cNvPr>
          <p:cNvCxnSpPr>
            <a:cxnSpLocks/>
          </p:cNvCxnSpPr>
          <p:nvPr/>
        </p:nvCxnSpPr>
        <p:spPr>
          <a:xfrm>
            <a:off x="708464" y="3614227"/>
            <a:ext cx="0" cy="184135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Grafik 25">
            <a:extLst>
              <a:ext uri="{FF2B5EF4-FFF2-40B4-BE49-F238E27FC236}">
                <a16:creationId xmlns:a16="http://schemas.microsoft.com/office/drawing/2014/main" id="{08E8E145-000F-5A1F-5EB7-EF64E4EB970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7988" y="5456948"/>
            <a:ext cx="600952" cy="600952"/>
          </a:xfrm>
          <a:prstGeom prst="rect">
            <a:avLst/>
          </a:prstGeom>
        </p:spPr>
      </p:pic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2D247D8-773E-462A-5D1E-267D374EF4E3}"/>
              </a:ext>
            </a:extLst>
          </p:cNvPr>
          <p:cNvSpPr txBox="1">
            <a:spLocks/>
          </p:cNvSpPr>
          <p:nvPr/>
        </p:nvSpPr>
        <p:spPr bwMode="gray">
          <a:xfrm>
            <a:off x="1924877" y="3614227"/>
            <a:ext cx="1170998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400" dirty="0"/>
              <a:t>Sprint 1</a:t>
            </a:r>
          </a:p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</a:rPr>
              <a:t>2</a:t>
            </a:r>
            <a:r>
              <a:rPr lang="en-US" sz="1400" b="1" i="0" dirty="0">
                <a:solidFill>
                  <a:schemeClr val="accent1"/>
                </a:solidFill>
                <a:effectLst/>
              </a:rPr>
              <a:t>–</a:t>
            </a:r>
            <a:r>
              <a:rPr lang="en-US" sz="1400" b="1" dirty="0">
                <a:solidFill>
                  <a:schemeClr val="accent1"/>
                </a:solidFill>
              </a:rPr>
              <a:t>4 weeks</a:t>
            </a:r>
            <a:endParaRPr lang="en-US" sz="1400" dirty="0">
              <a:solidFill>
                <a:schemeClr val="accent1"/>
              </a:solidFill>
            </a:endParaRPr>
          </a:p>
        </p:txBody>
      </p:sp>
      <p:cxnSp>
        <p:nvCxnSpPr>
          <p:cNvPr id="39" name="Gerader Verbinder 32">
            <a:extLst>
              <a:ext uri="{FF2B5EF4-FFF2-40B4-BE49-F238E27FC236}">
                <a16:creationId xmlns:a16="http://schemas.microsoft.com/office/drawing/2014/main" id="{C1A1D829-31EC-CB0D-AC82-DBEA0B559F6E}"/>
              </a:ext>
            </a:extLst>
          </p:cNvPr>
          <p:cNvCxnSpPr>
            <a:cxnSpLocks/>
          </p:cNvCxnSpPr>
          <p:nvPr/>
        </p:nvCxnSpPr>
        <p:spPr>
          <a:xfrm flipH="1">
            <a:off x="943630" y="3906614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4">
            <a:extLst>
              <a:ext uri="{FF2B5EF4-FFF2-40B4-BE49-F238E27FC236}">
                <a16:creationId xmlns:a16="http://schemas.microsoft.com/office/drawing/2014/main" id="{95E9DB32-5C9E-617C-D672-5C688B22A540}"/>
              </a:ext>
            </a:extLst>
          </p:cNvPr>
          <p:cNvCxnSpPr>
            <a:cxnSpLocks/>
          </p:cNvCxnSpPr>
          <p:nvPr/>
        </p:nvCxnSpPr>
        <p:spPr>
          <a:xfrm>
            <a:off x="3354643" y="3906614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5C62BF4F-0E0D-5780-6FC9-7C57D8D5A922}"/>
              </a:ext>
            </a:extLst>
          </p:cNvPr>
          <p:cNvSpPr txBox="1">
            <a:spLocks/>
          </p:cNvSpPr>
          <p:nvPr/>
        </p:nvSpPr>
        <p:spPr bwMode="gray">
          <a:xfrm>
            <a:off x="5528700" y="3614227"/>
            <a:ext cx="1170998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400" dirty="0"/>
              <a:t>Sprint 2</a:t>
            </a:r>
          </a:p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</a:rPr>
              <a:t>2–4 weeks</a:t>
            </a:r>
            <a:endParaRPr lang="en-US" sz="1400" dirty="0">
              <a:solidFill>
                <a:schemeClr val="accent1"/>
              </a:solidFill>
            </a:endParaRPr>
          </a:p>
        </p:txBody>
      </p:sp>
      <p:cxnSp>
        <p:nvCxnSpPr>
          <p:cNvPr id="41" name="Gerader Verbinder 35">
            <a:extLst>
              <a:ext uri="{FF2B5EF4-FFF2-40B4-BE49-F238E27FC236}">
                <a16:creationId xmlns:a16="http://schemas.microsoft.com/office/drawing/2014/main" id="{B75B58BC-BD84-827B-DD47-A0E6194B157B}"/>
              </a:ext>
            </a:extLst>
          </p:cNvPr>
          <p:cNvCxnSpPr>
            <a:cxnSpLocks/>
          </p:cNvCxnSpPr>
          <p:nvPr/>
        </p:nvCxnSpPr>
        <p:spPr>
          <a:xfrm flipH="1">
            <a:off x="4547454" y="3906614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36">
            <a:extLst>
              <a:ext uri="{FF2B5EF4-FFF2-40B4-BE49-F238E27FC236}">
                <a16:creationId xmlns:a16="http://schemas.microsoft.com/office/drawing/2014/main" id="{39D6916E-6327-99B1-2955-542CA621364E}"/>
              </a:ext>
            </a:extLst>
          </p:cNvPr>
          <p:cNvCxnSpPr>
            <a:cxnSpLocks/>
          </p:cNvCxnSpPr>
          <p:nvPr/>
        </p:nvCxnSpPr>
        <p:spPr>
          <a:xfrm>
            <a:off x="6958465" y="3906614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5981F7C5-D01B-27C7-C25D-3C91C70277AB}"/>
              </a:ext>
            </a:extLst>
          </p:cNvPr>
          <p:cNvSpPr txBox="1">
            <a:spLocks/>
          </p:cNvSpPr>
          <p:nvPr/>
        </p:nvSpPr>
        <p:spPr bwMode="gray">
          <a:xfrm>
            <a:off x="9132523" y="3614227"/>
            <a:ext cx="1170998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400" dirty="0"/>
              <a:t>Sprint 3</a:t>
            </a:r>
          </a:p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</a:rPr>
              <a:t>2–4 weeks</a:t>
            </a:r>
            <a:endParaRPr lang="en-US" sz="1400" dirty="0">
              <a:solidFill>
                <a:schemeClr val="accent1"/>
              </a:solidFill>
            </a:endParaRPr>
          </a:p>
        </p:txBody>
      </p:sp>
      <p:cxnSp>
        <p:nvCxnSpPr>
          <p:cNvPr id="43" name="Gerader Verbinder 37">
            <a:extLst>
              <a:ext uri="{FF2B5EF4-FFF2-40B4-BE49-F238E27FC236}">
                <a16:creationId xmlns:a16="http://schemas.microsoft.com/office/drawing/2014/main" id="{567C9191-5D2F-8E0D-AAD3-6F8153093ADA}"/>
              </a:ext>
            </a:extLst>
          </p:cNvPr>
          <p:cNvCxnSpPr>
            <a:cxnSpLocks/>
          </p:cNvCxnSpPr>
          <p:nvPr/>
        </p:nvCxnSpPr>
        <p:spPr>
          <a:xfrm flipH="1">
            <a:off x="8151276" y="3906614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8">
            <a:extLst>
              <a:ext uri="{FF2B5EF4-FFF2-40B4-BE49-F238E27FC236}">
                <a16:creationId xmlns:a16="http://schemas.microsoft.com/office/drawing/2014/main" id="{E998037C-916E-CF02-20A4-3B306F4EED9C}"/>
              </a:ext>
            </a:extLst>
          </p:cNvPr>
          <p:cNvCxnSpPr>
            <a:cxnSpLocks/>
          </p:cNvCxnSpPr>
          <p:nvPr/>
        </p:nvCxnSpPr>
        <p:spPr>
          <a:xfrm>
            <a:off x="10562289" y="3906614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reihandform: Form 58">
            <a:extLst>
              <a:ext uri="{FF2B5EF4-FFF2-40B4-BE49-F238E27FC236}">
                <a16:creationId xmlns:a16="http://schemas.microsoft.com/office/drawing/2014/main" id="{9B0DAE06-D65D-1A96-56C1-4B60BAF35236}"/>
              </a:ext>
            </a:extLst>
          </p:cNvPr>
          <p:cNvSpPr>
            <a:spLocks/>
          </p:cNvSpPr>
          <p:nvPr/>
        </p:nvSpPr>
        <p:spPr>
          <a:xfrm>
            <a:off x="9316880" y="5475305"/>
            <a:ext cx="700183" cy="582595"/>
          </a:xfrm>
          <a:custGeom>
            <a:avLst/>
            <a:gdLst>
              <a:gd name="connsiteX0" fmla="*/ 1658354 w 1670169"/>
              <a:gd name="connsiteY0" fmla="*/ 1375955 h 1389682"/>
              <a:gd name="connsiteX1" fmla="*/ 1597667 w 1670169"/>
              <a:gd name="connsiteY1" fmla="*/ 1376975 h 1389682"/>
              <a:gd name="connsiteX2" fmla="*/ 12791 w 1670169"/>
              <a:gd name="connsiteY2" fmla="*/ 527866 h 1389682"/>
              <a:gd name="connsiteX3" fmla="*/ 227745 w 1670169"/>
              <a:gd name="connsiteY3" fmla="*/ 12791 h 1389682"/>
              <a:gd name="connsiteX4" fmla="*/ 740526 w 1670169"/>
              <a:gd name="connsiteY4" fmla="*/ 78960 h 1389682"/>
              <a:gd name="connsiteX5" fmla="*/ 1597667 w 1670169"/>
              <a:gd name="connsiteY5" fmla="*/ 522766 h 1389682"/>
              <a:gd name="connsiteX6" fmla="*/ 1627118 w 1670169"/>
              <a:gd name="connsiteY6" fmla="*/ 522256 h 1389682"/>
              <a:gd name="connsiteX7" fmla="*/ 1316926 w 1670169"/>
              <a:gd name="connsiteY7" fmla="*/ 928707 h 1389682"/>
              <a:gd name="connsiteX8" fmla="*/ 1658354 w 1670169"/>
              <a:gd name="connsiteY8" fmla="*/ 1375955 h 1389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89682">
                <a:moveTo>
                  <a:pt x="1658354" y="1375955"/>
                </a:moveTo>
                <a:cubicBezTo>
                  <a:pt x="1638210" y="1376593"/>
                  <a:pt x="1617938" y="1376975"/>
                  <a:pt x="1597667" y="1376975"/>
                </a:cubicBezTo>
                <a:cubicBezTo>
                  <a:pt x="937504" y="1376975"/>
                  <a:pt x="354729" y="1039499"/>
                  <a:pt x="12791" y="527866"/>
                </a:cubicBezTo>
                <a:lnTo>
                  <a:pt x="227745" y="12791"/>
                </a:lnTo>
                <a:lnTo>
                  <a:pt x="740526" y="78960"/>
                </a:lnTo>
                <a:cubicBezTo>
                  <a:pt x="931001" y="347335"/>
                  <a:pt x="1244254" y="522766"/>
                  <a:pt x="1597667" y="522766"/>
                </a:cubicBezTo>
                <a:cubicBezTo>
                  <a:pt x="1607484" y="522766"/>
                  <a:pt x="1617428" y="522639"/>
                  <a:pt x="1627118" y="522256"/>
                </a:cubicBezTo>
                <a:lnTo>
                  <a:pt x="1316926" y="928707"/>
                </a:lnTo>
                <a:lnTo>
                  <a:pt x="1658354" y="137595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8" name="Freihandform: Form 59">
            <a:extLst>
              <a:ext uri="{FF2B5EF4-FFF2-40B4-BE49-F238E27FC236}">
                <a16:creationId xmlns:a16="http://schemas.microsoft.com/office/drawing/2014/main" id="{16F4DDF3-B535-5573-4DB9-4A297B934284}"/>
              </a:ext>
            </a:extLst>
          </p:cNvPr>
          <p:cNvSpPr>
            <a:spLocks/>
          </p:cNvSpPr>
          <p:nvPr/>
        </p:nvSpPr>
        <p:spPr>
          <a:xfrm>
            <a:off x="9890549" y="5457881"/>
            <a:ext cx="801737" cy="593284"/>
          </a:xfrm>
          <a:custGeom>
            <a:avLst/>
            <a:gdLst>
              <a:gd name="connsiteX0" fmla="*/ 1908242 w 1912407"/>
              <a:gd name="connsiteY0" fmla="*/ 412994 h 1415181"/>
              <a:gd name="connsiteX1" fmla="*/ 352052 w 1912407"/>
              <a:gd name="connsiteY1" fmla="*/ 1414713 h 1415181"/>
              <a:gd name="connsiteX2" fmla="*/ 351925 w 1912407"/>
              <a:gd name="connsiteY2" fmla="*/ 1414713 h 1415181"/>
              <a:gd name="connsiteX3" fmla="*/ 12791 w 1912407"/>
              <a:gd name="connsiteY3" fmla="*/ 970270 h 1415181"/>
              <a:gd name="connsiteX4" fmla="*/ 326043 w 1912407"/>
              <a:gd name="connsiteY4" fmla="*/ 559740 h 1415181"/>
              <a:gd name="connsiteX5" fmla="*/ 326171 w 1912407"/>
              <a:gd name="connsiteY5" fmla="*/ 559740 h 1415181"/>
              <a:gd name="connsiteX6" fmla="*/ 1153606 w 1912407"/>
              <a:gd name="connsiteY6" fmla="*/ 12791 h 1415181"/>
              <a:gd name="connsiteX7" fmla="*/ 1350584 w 1912407"/>
              <a:gd name="connsiteY7" fmla="*/ 484900 h 1415181"/>
              <a:gd name="connsiteX8" fmla="*/ 1908242 w 1912407"/>
              <a:gd name="connsiteY8" fmla="*/ 412994 h 1415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2407" h="1415181">
                <a:moveTo>
                  <a:pt x="1908242" y="412994"/>
                </a:moveTo>
                <a:cubicBezTo>
                  <a:pt x="1604807" y="977154"/>
                  <a:pt x="1025602" y="1371620"/>
                  <a:pt x="352052" y="1414713"/>
                </a:cubicBezTo>
                <a:lnTo>
                  <a:pt x="351925" y="1414713"/>
                </a:lnTo>
                <a:lnTo>
                  <a:pt x="12791" y="970270"/>
                </a:lnTo>
                <a:lnTo>
                  <a:pt x="326043" y="559740"/>
                </a:lnTo>
                <a:lnTo>
                  <a:pt x="326171" y="559740"/>
                </a:lnTo>
                <a:cubicBezTo>
                  <a:pt x="683919" y="527101"/>
                  <a:pt x="990286" y="314059"/>
                  <a:pt x="1153606" y="12791"/>
                </a:cubicBezTo>
                <a:lnTo>
                  <a:pt x="1350584" y="484900"/>
                </a:lnTo>
                <a:lnTo>
                  <a:pt x="1908242" y="412994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9" name="Freihandform: Form 64">
            <a:extLst>
              <a:ext uri="{FF2B5EF4-FFF2-40B4-BE49-F238E27FC236}">
                <a16:creationId xmlns:a16="http://schemas.microsoft.com/office/drawing/2014/main" id="{78ACF1E6-8297-EC88-8515-3E498539ECB1}"/>
              </a:ext>
            </a:extLst>
          </p:cNvPr>
          <p:cNvSpPr>
            <a:spLocks/>
          </p:cNvSpPr>
          <p:nvPr/>
        </p:nvSpPr>
        <p:spPr>
          <a:xfrm>
            <a:off x="9184217" y="4863955"/>
            <a:ext cx="427593" cy="812425"/>
          </a:xfrm>
          <a:custGeom>
            <a:avLst/>
            <a:gdLst>
              <a:gd name="connsiteX0" fmla="*/ 293666 w 1019950"/>
              <a:gd name="connsiteY0" fmla="*/ 1930936 h 1937906"/>
              <a:gd name="connsiteX1" fmla="*/ 262685 w 1019950"/>
              <a:gd name="connsiteY1" fmla="*/ 1878663 h 1937906"/>
              <a:gd name="connsiteX2" fmla="*/ 215002 w 1019950"/>
              <a:gd name="connsiteY2" fmla="*/ 81255 h 1937906"/>
              <a:gd name="connsiteX3" fmla="*/ 768963 w 1019950"/>
              <a:gd name="connsiteY3" fmla="*/ 12791 h 1937906"/>
              <a:gd name="connsiteX4" fmla="*/ 965559 w 1019950"/>
              <a:gd name="connsiteY4" fmla="*/ 491020 h 1937906"/>
              <a:gd name="connsiteX5" fmla="*/ 1004699 w 1019950"/>
              <a:gd name="connsiteY5" fmla="*/ 1455511 h 1937906"/>
              <a:gd name="connsiteX6" fmla="*/ 1019743 w 1019950"/>
              <a:gd name="connsiteY6" fmla="*/ 1480882 h 1937906"/>
              <a:gd name="connsiteX7" fmla="*/ 512955 w 1019950"/>
              <a:gd name="connsiteY7" fmla="*/ 1412801 h 1937906"/>
              <a:gd name="connsiteX8" fmla="*/ 293666 w 1019950"/>
              <a:gd name="connsiteY8" fmla="*/ 1930936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9950" h="1937906">
                <a:moveTo>
                  <a:pt x="293666" y="1930936"/>
                </a:moveTo>
                <a:cubicBezTo>
                  <a:pt x="283084" y="1913724"/>
                  <a:pt x="272757" y="1896385"/>
                  <a:pt x="262685" y="1878663"/>
                </a:cubicBezTo>
                <a:cubicBezTo>
                  <a:pt x="-64337" y="1305196"/>
                  <a:pt x="-60002" y="631773"/>
                  <a:pt x="215002" y="81255"/>
                </a:cubicBezTo>
                <a:lnTo>
                  <a:pt x="768963" y="12791"/>
                </a:lnTo>
                <a:lnTo>
                  <a:pt x="965559" y="491020"/>
                </a:lnTo>
                <a:cubicBezTo>
                  <a:pt x="826845" y="789483"/>
                  <a:pt x="829650" y="1148506"/>
                  <a:pt x="1004699" y="1455511"/>
                </a:cubicBezTo>
                <a:cubicBezTo>
                  <a:pt x="1009544" y="1464053"/>
                  <a:pt x="1014644" y="1472595"/>
                  <a:pt x="1019743" y="1480882"/>
                </a:cubicBezTo>
                <a:lnTo>
                  <a:pt x="512955" y="1412801"/>
                </a:lnTo>
                <a:lnTo>
                  <a:pt x="293666" y="1930936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60" name="Freihandform: Form 65">
            <a:extLst>
              <a:ext uri="{FF2B5EF4-FFF2-40B4-BE49-F238E27FC236}">
                <a16:creationId xmlns:a16="http://schemas.microsoft.com/office/drawing/2014/main" id="{73D5B5B9-9FB2-87FE-EA98-792542CAFFC7}"/>
              </a:ext>
            </a:extLst>
          </p:cNvPr>
          <p:cNvSpPr>
            <a:spLocks/>
          </p:cNvSpPr>
          <p:nvPr/>
        </p:nvSpPr>
        <p:spPr>
          <a:xfrm>
            <a:off x="10356144" y="4827770"/>
            <a:ext cx="432938" cy="812425"/>
          </a:xfrm>
          <a:custGeom>
            <a:avLst/>
            <a:gdLst>
              <a:gd name="connsiteX0" fmla="*/ 1023562 w 1032700"/>
              <a:gd name="connsiteY0" fmla="*/ 1016677 h 1937906"/>
              <a:gd name="connsiteX1" fmla="*/ 826201 w 1032700"/>
              <a:gd name="connsiteY1" fmla="*/ 1860814 h 1937906"/>
              <a:gd name="connsiteX2" fmla="*/ 272113 w 1032700"/>
              <a:gd name="connsiteY2" fmla="*/ 1932338 h 1937906"/>
              <a:gd name="connsiteX3" fmla="*/ 73223 w 1032700"/>
              <a:gd name="connsiteY3" fmla="*/ 1455511 h 1937906"/>
              <a:gd name="connsiteX4" fmla="*/ 169353 w 1032700"/>
              <a:gd name="connsiteY4" fmla="*/ 1016677 h 1937906"/>
              <a:gd name="connsiteX5" fmla="*/ 12791 w 1032700"/>
              <a:gd name="connsiteY5" fmla="*/ 465521 h 1937906"/>
              <a:gd name="connsiteX6" fmla="*/ 520726 w 1032700"/>
              <a:gd name="connsiteY6" fmla="*/ 531053 h 1937906"/>
              <a:gd name="connsiteX7" fmla="*/ 736956 w 1032700"/>
              <a:gd name="connsiteY7" fmla="*/ 12791 h 1937906"/>
              <a:gd name="connsiteX8" fmla="*/ 1023562 w 1032700"/>
              <a:gd name="connsiteY8" fmla="*/ 1016677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2700" h="1937906">
                <a:moveTo>
                  <a:pt x="1023562" y="1016677"/>
                </a:moveTo>
                <a:cubicBezTo>
                  <a:pt x="1023562" y="1319603"/>
                  <a:pt x="952548" y="1606336"/>
                  <a:pt x="826201" y="1860814"/>
                </a:cubicBezTo>
                <a:lnTo>
                  <a:pt x="272113" y="1932338"/>
                </a:lnTo>
                <a:lnTo>
                  <a:pt x="73223" y="1455511"/>
                </a:lnTo>
                <a:cubicBezTo>
                  <a:pt x="134930" y="1321898"/>
                  <a:pt x="169353" y="1173240"/>
                  <a:pt x="169353" y="1016677"/>
                </a:cubicBezTo>
                <a:cubicBezTo>
                  <a:pt x="169353" y="814727"/>
                  <a:pt x="112109" y="625781"/>
                  <a:pt x="12791" y="465521"/>
                </a:cubicBezTo>
                <a:lnTo>
                  <a:pt x="520726" y="531053"/>
                </a:lnTo>
                <a:lnTo>
                  <a:pt x="736956" y="12791"/>
                </a:lnTo>
                <a:cubicBezTo>
                  <a:pt x="918634" y="304369"/>
                  <a:pt x="1023562" y="648475"/>
                  <a:pt x="1023562" y="1016677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61" name="Freihandform: Form 61">
            <a:extLst>
              <a:ext uri="{FF2B5EF4-FFF2-40B4-BE49-F238E27FC236}">
                <a16:creationId xmlns:a16="http://schemas.microsoft.com/office/drawing/2014/main" id="{B28D8F36-1537-8D35-B523-9B97C5499925}"/>
              </a:ext>
            </a:extLst>
          </p:cNvPr>
          <p:cNvSpPr>
            <a:spLocks/>
          </p:cNvSpPr>
          <p:nvPr/>
        </p:nvSpPr>
        <p:spPr>
          <a:xfrm>
            <a:off x="9956024" y="4450046"/>
            <a:ext cx="700183" cy="577250"/>
          </a:xfrm>
          <a:custGeom>
            <a:avLst/>
            <a:gdLst>
              <a:gd name="connsiteX0" fmla="*/ 1657844 w 1670169"/>
              <a:gd name="connsiteY0" fmla="*/ 861772 h 1376933"/>
              <a:gd name="connsiteX1" fmla="*/ 1443017 w 1670169"/>
              <a:gd name="connsiteY1" fmla="*/ 1376465 h 1376933"/>
              <a:gd name="connsiteX2" fmla="*/ 929854 w 1670169"/>
              <a:gd name="connsiteY2" fmla="*/ 1310296 h 1376933"/>
              <a:gd name="connsiteX3" fmla="*/ 73096 w 1670169"/>
              <a:gd name="connsiteY3" fmla="*/ 867000 h 1376933"/>
              <a:gd name="connsiteX4" fmla="*/ 43262 w 1670169"/>
              <a:gd name="connsiteY4" fmla="*/ 867510 h 1376933"/>
              <a:gd name="connsiteX5" fmla="*/ 353837 w 1670169"/>
              <a:gd name="connsiteY5" fmla="*/ 460549 h 1376933"/>
              <a:gd name="connsiteX6" fmla="*/ 12791 w 1670169"/>
              <a:gd name="connsiteY6" fmla="*/ 13811 h 1376933"/>
              <a:gd name="connsiteX7" fmla="*/ 73096 w 1670169"/>
              <a:gd name="connsiteY7" fmla="*/ 12791 h 1376933"/>
              <a:gd name="connsiteX8" fmla="*/ 1657844 w 1670169"/>
              <a:gd name="connsiteY8" fmla="*/ 861772 h 137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76933">
                <a:moveTo>
                  <a:pt x="1657844" y="861772"/>
                </a:moveTo>
                <a:lnTo>
                  <a:pt x="1443017" y="1376465"/>
                </a:lnTo>
                <a:lnTo>
                  <a:pt x="929854" y="1310296"/>
                </a:lnTo>
                <a:cubicBezTo>
                  <a:pt x="739379" y="1042176"/>
                  <a:pt x="426254" y="867000"/>
                  <a:pt x="73096" y="867000"/>
                </a:cubicBezTo>
                <a:cubicBezTo>
                  <a:pt x="63151" y="867000"/>
                  <a:pt x="53079" y="867127"/>
                  <a:pt x="43262" y="867510"/>
                </a:cubicBezTo>
                <a:lnTo>
                  <a:pt x="353837" y="460549"/>
                </a:lnTo>
                <a:lnTo>
                  <a:pt x="12791" y="13811"/>
                </a:lnTo>
                <a:cubicBezTo>
                  <a:pt x="32807" y="13046"/>
                  <a:pt x="52952" y="12791"/>
                  <a:pt x="73096" y="12791"/>
                </a:cubicBezTo>
                <a:cubicBezTo>
                  <a:pt x="733259" y="12791"/>
                  <a:pt x="1316033" y="350267"/>
                  <a:pt x="1657844" y="861772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62" name="Freihandform: Form 62">
            <a:extLst>
              <a:ext uri="{FF2B5EF4-FFF2-40B4-BE49-F238E27FC236}">
                <a16:creationId xmlns:a16="http://schemas.microsoft.com/office/drawing/2014/main" id="{FF462FD8-5E8B-DE3F-FE4C-C63B3BE81FCC}"/>
              </a:ext>
            </a:extLst>
          </p:cNvPr>
          <p:cNvSpPr>
            <a:spLocks/>
          </p:cNvSpPr>
          <p:nvPr/>
        </p:nvSpPr>
        <p:spPr>
          <a:xfrm>
            <a:off x="8646962" y="4457012"/>
            <a:ext cx="1430463" cy="358430"/>
          </a:xfrm>
          <a:custGeom>
            <a:avLst/>
            <a:gdLst>
              <a:gd name="connsiteX0" fmla="*/ 0 w 3412130"/>
              <a:gd name="connsiteY0" fmla="*/ 0 h 854975"/>
              <a:gd name="connsiteX1" fmla="*/ 3073379 w 3412130"/>
              <a:gd name="connsiteY1" fmla="*/ 0 h 854975"/>
              <a:gd name="connsiteX2" fmla="*/ 3412130 w 3412130"/>
              <a:gd name="connsiteY2" fmla="*/ 443934 h 854975"/>
              <a:gd name="connsiteX3" fmla="*/ 3098368 w 3412130"/>
              <a:gd name="connsiteY3" fmla="*/ 854975 h 854975"/>
              <a:gd name="connsiteX4" fmla="*/ 0 w 3412130"/>
              <a:gd name="connsiteY4" fmla="*/ 854975 h 854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2130" h="854975">
                <a:moveTo>
                  <a:pt x="0" y="0"/>
                </a:moveTo>
                <a:lnTo>
                  <a:pt x="3073379" y="0"/>
                </a:lnTo>
                <a:lnTo>
                  <a:pt x="3412130" y="443934"/>
                </a:lnTo>
                <a:lnTo>
                  <a:pt x="3098368" y="854975"/>
                </a:lnTo>
                <a:lnTo>
                  <a:pt x="0" y="85497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lIns="199453" rtlCol="0" anchor="ctr"/>
          <a:lstStyle/>
          <a:p>
            <a:pPr>
              <a:spcBef>
                <a:spcPts val="400"/>
              </a:spcBef>
              <a:buClr>
                <a:schemeClr val="tx2"/>
              </a:buClr>
              <a:buSzPct val="80000"/>
            </a:pPr>
            <a:endParaRPr lang="en-US" sz="90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63" name="Grafik 67">
            <a:extLst>
              <a:ext uri="{FF2B5EF4-FFF2-40B4-BE49-F238E27FC236}">
                <a16:creationId xmlns:a16="http://schemas.microsoft.com/office/drawing/2014/main" id="{B6D3F47C-4D90-3D41-A4B2-F48F1EE507E5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706973" y="4975633"/>
            <a:ext cx="556670" cy="556670"/>
          </a:xfrm>
          <a:prstGeom prst="rect">
            <a:avLst/>
          </a:prstGeom>
        </p:spPr>
      </p:pic>
      <p:sp>
        <p:nvSpPr>
          <p:cNvPr id="51" name="Freihandform: Form 49">
            <a:extLst>
              <a:ext uri="{FF2B5EF4-FFF2-40B4-BE49-F238E27FC236}">
                <a16:creationId xmlns:a16="http://schemas.microsoft.com/office/drawing/2014/main" id="{7D184FE2-7549-C90C-DF17-299F92B1F99A}"/>
              </a:ext>
            </a:extLst>
          </p:cNvPr>
          <p:cNvSpPr>
            <a:spLocks/>
          </p:cNvSpPr>
          <p:nvPr/>
        </p:nvSpPr>
        <p:spPr>
          <a:xfrm>
            <a:off x="5713057" y="5475305"/>
            <a:ext cx="700183" cy="582595"/>
          </a:xfrm>
          <a:custGeom>
            <a:avLst/>
            <a:gdLst>
              <a:gd name="connsiteX0" fmla="*/ 1658354 w 1670169"/>
              <a:gd name="connsiteY0" fmla="*/ 1375955 h 1389682"/>
              <a:gd name="connsiteX1" fmla="*/ 1597667 w 1670169"/>
              <a:gd name="connsiteY1" fmla="*/ 1376975 h 1389682"/>
              <a:gd name="connsiteX2" fmla="*/ 12791 w 1670169"/>
              <a:gd name="connsiteY2" fmla="*/ 527866 h 1389682"/>
              <a:gd name="connsiteX3" fmla="*/ 227745 w 1670169"/>
              <a:gd name="connsiteY3" fmla="*/ 12791 h 1389682"/>
              <a:gd name="connsiteX4" fmla="*/ 740526 w 1670169"/>
              <a:gd name="connsiteY4" fmla="*/ 78960 h 1389682"/>
              <a:gd name="connsiteX5" fmla="*/ 1597667 w 1670169"/>
              <a:gd name="connsiteY5" fmla="*/ 522766 h 1389682"/>
              <a:gd name="connsiteX6" fmla="*/ 1627118 w 1670169"/>
              <a:gd name="connsiteY6" fmla="*/ 522256 h 1389682"/>
              <a:gd name="connsiteX7" fmla="*/ 1316926 w 1670169"/>
              <a:gd name="connsiteY7" fmla="*/ 928707 h 1389682"/>
              <a:gd name="connsiteX8" fmla="*/ 1658354 w 1670169"/>
              <a:gd name="connsiteY8" fmla="*/ 1375955 h 1389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89682">
                <a:moveTo>
                  <a:pt x="1658354" y="1375955"/>
                </a:moveTo>
                <a:cubicBezTo>
                  <a:pt x="1638210" y="1376593"/>
                  <a:pt x="1617938" y="1376975"/>
                  <a:pt x="1597667" y="1376975"/>
                </a:cubicBezTo>
                <a:cubicBezTo>
                  <a:pt x="937504" y="1376975"/>
                  <a:pt x="354729" y="1039499"/>
                  <a:pt x="12791" y="527866"/>
                </a:cubicBezTo>
                <a:lnTo>
                  <a:pt x="227745" y="12791"/>
                </a:lnTo>
                <a:lnTo>
                  <a:pt x="740526" y="78960"/>
                </a:lnTo>
                <a:cubicBezTo>
                  <a:pt x="931001" y="347335"/>
                  <a:pt x="1244254" y="522766"/>
                  <a:pt x="1597667" y="522766"/>
                </a:cubicBezTo>
                <a:cubicBezTo>
                  <a:pt x="1607484" y="522766"/>
                  <a:pt x="1617428" y="522639"/>
                  <a:pt x="1627118" y="522256"/>
                </a:cubicBezTo>
                <a:lnTo>
                  <a:pt x="1316926" y="928707"/>
                </a:lnTo>
                <a:lnTo>
                  <a:pt x="1658354" y="137595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2" name="Freihandform: Form 50">
            <a:extLst>
              <a:ext uri="{FF2B5EF4-FFF2-40B4-BE49-F238E27FC236}">
                <a16:creationId xmlns:a16="http://schemas.microsoft.com/office/drawing/2014/main" id="{9CC3C2C0-3808-E0E8-4303-5CABDB636C6B}"/>
              </a:ext>
            </a:extLst>
          </p:cNvPr>
          <p:cNvSpPr>
            <a:spLocks/>
          </p:cNvSpPr>
          <p:nvPr/>
        </p:nvSpPr>
        <p:spPr>
          <a:xfrm>
            <a:off x="6286726" y="5457881"/>
            <a:ext cx="801737" cy="593284"/>
          </a:xfrm>
          <a:custGeom>
            <a:avLst/>
            <a:gdLst>
              <a:gd name="connsiteX0" fmla="*/ 1908242 w 1912407"/>
              <a:gd name="connsiteY0" fmla="*/ 412994 h 1415181"/>
              <a:gd name="connsiteX1" fmla="*/ 352052 w 1912407"/>
              <a:gd name="connsiteY1" fmla="*/ 1414713 h 1415181"/>
              <a:gd name="connsiteX2" fmla="*/ 351925 w 1912407"/>
              <a:gd name="connsiteY2" fmla="*/ 1414713 h 1415181"/>
              <a:gd name="connsiteX3" fmla="*/ 12791 w 1912407"/>
              <a:gd name="connsiteY3" fmla="*/ 970270 h 1415181"/>
              <a:gd name="connsiteX4" fmla="*/ 326043 w 1912407"/>
              <a:gd name="connsiteY4" fmla="*/ 559740 h 1415181"/>
              <a:gd name="connsiteX5" fmla="*/ 326171 w 1912407"/>
              <a:gd name="connsiteY5" fmla="*/ 559740 h 1415181"/>
              <a:gd name="connsiteX6" fmla="*/ 1153606 w 1912407"/>
              <a:gd name="connsiteY6" fmla="*/ 12791 h 1415181"/>
              <a:gd name="connsiteX7" fmla="*/ 1350584 w 1912407"/>
              <a:gd name="connsiteY7" fmla="*/ 484900 h 1415181"/>
              <a:gd name="connsiteX8" fmla="*/ 1908242 w 1912407"/>
              <a:gd name="connsiteY8" fmla="*/ 412994 h 1415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2407" h="1415181">
                <a:moveTo>
                  <a:pt x="1908242" y="412994"/>
                </a:moveTo>
                <a:cubicBezTo>
                  <a:pt x="1604807" y="977154"/>
                  <a:pt x="1025602" y="1371620"/>
                  <a:pt x="352052" y="1414713"/>
                </a:cubicBezTo>
                <a:lnTo>
                  <a:pt x="351925" y="1414713"/>
                </a:lnTo>
                <a:lnTo>
                  <a:pt x="12791" y="970270"/>
                </a:lnTo>
                <a:lnTo>
                  <a:pt x="326043" y="559740"/>
                </a:lnTo>
                <a:lnTo>
                  <a:pt x="326171" y="559740"/>
                </a:lnTo>
                <a:cubicBezTo>
                  <a:pt x="683919" y="527101"/>
                  <a:pt x="990286" y="314059"/>
                  <a:pt x="1153606" y="12791"/>
                </a:cubicBezTo>
                <a:lnTo>
                  <a:pt x="1350584" y="484900"/>
                </a:lnTo>
                <a:lnTo>
                  <a:pt x="1908242" y="412994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3" name="Freihandform: Form 55">
            <a:extLst>
              <a:ext uri="{FF2B5EF4-FFF2-40B4-BE49-F238E27FC236}">
                <a16:creationId xmlns:a16="http://schemas.microsoft.com/office/drawing/2014/main" id="{5A039644-3419-50A4-CC81-5B821E0CEB7E}"/>
              </a:ext>
            </a:extLst>
          </p:cNvPr>
          <p:cNvSpPr>
            <a:spLocks/>
          </p:cNvSpPr>
          <p:nvPr/>
        </p:nvSpPr>
        <p:spPr>
          <a:xfrm>
            <a:off x="5580394" y="4863955"/>
            <a:ext cx="427593" cy="812425"/>
          </a:xfrm>
          <a:custGeom>
            <a:avLst/>
            <a:gdLst>
              <a:gd name="connsiteX0" fmla="*/ 293666 w 1019950"/>
              <a:gd name="connsiteY0" fmla="*/ 1930936 h 1937906"/>
              <a:gd name="connsiteX1" fmla="*/ 262685 w 1019950"/>
              <a:gd name="connsiteY1" fmla="*/ 1878663 h 1937906"/>
              <a:gd name="connsiteX2" fmla="*/ 215002 w 1019950"/>
              <a:gd name="connsiteY2" fmla="*/ 81255 h 1937906"/>
              <a:gd name="connsiteX3" fmla="*/ 768963 w 1019950"/>
              <a:gd name="connsiteY3" fmla="*/ 12791 h 1937906"/>
              <a:gd name="connsiteX4" fmla="*/ 965559 w 1019950"/>
              <a:gd name="connsiteY4" fmla="*/ 491020 h 1937906"/>
              <a:gd name="connsiteX5" fmla="*/ 1004699 w 1019950"/>
              <a:gd name="connsiteY5" fmla="*/ 1455511 h 1937906"/>
              <a:gd name="connsiteX6" fmla="*/ 1019743 w 1019950"/>
              <a:gd name="connsiteY6" fmla="*/ 1480882 h 1937906"/>
              <a:gd name="connsiteX7" fmla="*/ 512955 w 1019950"/>
              <a:gd name="connsiteY7" fmla="*/ 1412801 h 1937906"/>
              <a:gd name="connsiteX8" fmla="*/ 293666 w 1019950"/>
              <a:gd name="connsiteY8" fmla="*/ 1930936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9950" h="1937906">
                <a:moveTo>
                  <a:pt x="293666" y="1930936"/>
                </a:moveTo>
                <a:cubicBezTo>
                  <a:pt x="283084" y="1913724"/>
                  <a:pt x="272757" y="1896385"/>
                  <a:pt x="262685" y="1878663"/>
                </a:cubicBezTo>
                <a:cubicBezTo>
                  <a:pt x="-64337" y="1305196"/>
                  <a:pt x="-60002" y="631773"/>
                  <a:pt x="215002" y="81255"/>
                </a:cubicBezTo>
                <a:lnTo>
                  <a:pt x="768963" y="12791"/>
                </a:lnTo>
                <a:lnTo>
                  <a:pt x="965559" y="491020"/>
                </a:lnTo>
                <a:cubicBezTo>
                  <a:pt x="826845" y="789483"/>
                  <a:pt x="829650" y="1148506"/>
                  <a:pt x="1004699" y="1455511"/>
                </a:cubicBezTo>
                <a:cubicBezTo>
                  <a:pt x="1009544" y="1464053"/>
                  <a:pt x="1014644" y="1472595"/>
                  <a:pt x="1019743" y="1480882"/>
                </a:cubicBezTo>
                <a:lnTo>
                  <a:pt x="512955" y="1412801"/>
                </a:lnTo>
                <a:lnTo>
                  <a:pt x="293666" y="1930936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4" name="Freihandform: Form 56">
            <a:extLst>
              <a:ext uri="{FF2B5EF4-FFF2-40B4-BE49-F238E27FC236}">
                <a16:creationId xmlns:a16="http://schemas.microsoft.com/office/drawing/2014/main" id="{3693446B-0FF1-93A2-1DBC-4CDA078D643D}"/>
              </a:ext>
            </a:extLst>
          </p:cNvPr>
          <p:cNvSpPr>
            <a:spLocks/>
          </p:cNvSpPr>
          <p:nvPr/>
        </p:nvSpPr>
        <p:spPr>
          <a:xfrm>
            <a:off x="6752321" y="4827770"/>
            <a:ext cx="432938" cy="812425"/>
          </a:xfrm>
          <a:custGeom>
            <a:avLst/>
            <a:gdLst>
              <a:gd name="connsiteX0" fmla="*/ 1023562 w 1032700"/>
              <a:gd name="connsiteY0" fmla="*/ 1016677 h 1937906"/>
              <a:gd name="connsiteX1" fmla="*/ 826201 w 1032700"/>
              <a:gd name="connsiteY1" fmla="*/ 1860814 h 1937906"/>
              <a:gd name="connsiteX2" fmla="*/ 272113 w 1032700"/>
              <a:gd name="connsiteY2" fmla="*/ 1932338 h 1937906"/>
              <a:gd name="connsiteX3" fmla="*/ 73223 w 1032700"/>
              <a:gd name="connsiteY3" fmla="*/ 1455511 h 1937906"/>
              <a:gd name="connsiteX4" fmla="*/ 169353 w 1032700"/>
              <a:gd name="connsiteY4" fmla="*/ 1016677 h 1937906"/>
              <a:gd name="connsiteX5" fmla="*/ 12791 w 1032700"/>
              <a:gd name="connsiteY5" fmla="*/ 465521 h 1937906"/>
              <a:gd name="connsiteX6" fmla="*/ 520726 w 1032700"/>
              <a:gd name="connsiteY6" fmla="*/ 531053 h 1937906"/>
              <a:gd name="connsiteX7" fmla="*/ 736956 w 1032700"/>
              <a:gd name="connsiteY7" fmla="*/ 12791 h 1937906"/>
              <a:gd name="connsiteX8" fmla="*/ 1023562 w 1032700"/>
              <a:gd name="connsiteY8" fmla="*/ 1016677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2700" h="1937906">
                <a:moveTo>
                  <a:pt x="1023562" y="1016677"/>
                </a:moveTo>
                <a:cubicBezTo>
                  <a:pt x="1023562" y="1319603"/>
                  <a:pt x="952548" y="1606336"/>
                  <a:pt x="826201" y="1860814"/>
                </a:cubicBezTo>
                <a:lnTo>
                  <a:pt x="272113" y="1932338"/>
                </a:lnTo>
                <a:lnTo>
                  <a:pt x="73223" y="1455511"/>
                </a:lnTo>
                <a:cubicBezTo>
                  <a:pt x="134930" y="1321898"/>
                  <a:pt x="169353" y="1173240"/>
                  <a:pt x="169353" y="1016677"/>
                </a:cubicBezTo>
                <a:cubicBezTo>
                  <a:pt x="169353" y="814727"/>
                  <a:pt x="112109" y="625781"/>
                  <a:pt x="12791" y="465521"/>
                </a:cubicBezTo>
                <a:lnTo>
                  <a:pt x="520726" y="531053"/>
                </a:lnTo>
                <a:lnTo>
                  <a:pt x="736956" y="12791"/>
                </a:lnTo>
                <a:cubicBezTo>
                  <a:pt x="918634" y="304369"/>
                  <a:pt x="1023562" y="648475"/>
                  <a:pt x="1023562" y="1016677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5" name="Freihandform: Form 52">
            <a:extLst>
              <a:ext uri="{FF2B5EF4-FFF2-40B4-BE49-F238E27FC236}">
                <a16:creationId xmlns:a16="http://schemas.microsoft.com/office/drawing/2014/main" id="{56E36796-EA33-5859-8E69-5191CD485BC1}"/>
              </a:ext>
            </a:extLst>
          </p:cNvPr>
          <p:cNvSpPr>
            <a:spLocks/>
          </p:cNvSpPr>
          <p:nvPr/>
        </p:nvSpPr>
        <p:spPr>
          <a:xfrm>
            <a:off x="6352201" y="4450046"/>
            <a:ext cx="700183" cy="577250"/>
          </a:xfrm>
          <a:custGeom>
            <a:avLst/>
            <a:gdLst>
              <a:gd name="connsiteX0" fmla="*/ 1657844 w 1670169"/>
              <a:gd name="connsiteY0" fmla="*/ 861772 h 1376933"/>
              <a:gd name="connsiteX1" fmla="*/ 1443017 w 1670169"/>
              <a:gd name="connsiteY1" fmla="*/ 1376465 h 1376933"/>
              <a:gd name="connsiteX2" fmla="*/ 929854 w 1670169"/>
              <a:gd name="connsiteY2" fmla="*/ 1310296 h 1376933"/>
              <a:gd name="connsiteX3" fmla="*/ 73096 w 1670169"/>
              <a:gd name="connsiteY3" fmla="*/ 867000 h 1376933"/>
              <a:gd name="connsiteX4" fmla="*/ 43262 w 1670169"/>
              <a:gd name="connsiteY4" fmla="*/ 867510 h 1376933"/>
              <a:gd name="connsiteX5" fmla="*/ 353837 w 1670169"/>
              <a:gd name="connsiteY5" fmla="*/ 460549 h 1376933"/>
              <a:gd name="connsiteX6" fmla="*/ 12791 w 1670169"/>
              <a:gd name="connsiteY6" fmla="*/ 13811 h 1376933"/>
              <a:gd name="connsiteX7" fmla="*/ 73096 w 1670169"/>
              <a:gd name="connsiteY7" fmla="*/ 12791 h 1376933"/>
              <a:gd name="connsiteX8" fmla="*/ 1657844 w 1670169"/>
              <a:gd name="connsiteY8" fmla="*/ 861772 h 137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76933">
                <a:moveTo>
                  <a:pt x="1657844" y="861772"/>
                </a:moveTo>
                <a:lnTo>
                  <a:pt x="1443017" y="1376465"/>
                </a:lnTo>
                <a:lnTo>
                  <a:pt x="929854" y="1310296"/>
                </a:lnTo>
                <a:cubicBezTo>
                  <a:pt x="739379" y="1042176"/>
                  <a:pt x="426254" y="867000"/>
                  <a:pt x="73096" y="867000"/>
                </a:cubicBezTo>
                <a:cubicBezTo>
                  <a:pt x="63151" y="867000"/>
                  <a:pt x="53079" y="867127"/>
                  <a:pt x="43262" y="867510"/>
                </a:cubicBezTo>
                <a:lnTo>
                  <a:pt x="353837" y="460549"/>
                </a:lnTo>
                <a:lnTo>
                  <a:pt x="12791" y="13811"/>
                </a:lnTo>
                <a:cubicBezTo>
                  <a:pt x="32807" y="13046"/>
                  <a:pt x="52952" y="12791"/>
                  <a:pt x="73096" y="12791"/>
                </a:cubicBezTo>
                <a:cubicBezTo>
                  <a:pt x="733259" y="12791"/>
                  <a:pt x="1316033" y="350267"/>
                  <a:pt x="1657844" y="861772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6" name="Freihandform: Form 53">
            <a:extLst>
              <a:ext uri="{FF2B5EF4-FFF2-40B4-BE49-F238E27FC236}">
                <a16:creationId xmlns:a16="http://schemas.microsoft.com/office/drawing/2014/main" id="{0F15CC56-10BA-6095-5723-2FCB183BFF66}"/>
              </a:ext>
            </a:extLst>
          </p:cNvPr>
          <p:cNvSpPr>
            <a:spLocks/>
          </p:cNvSpPr>
          <p:nvPr/>
        </p:nvSpPr>
        <p:spPr>
          <a:xfrm>
            <a:off x="5043139" y="4457012"/>
            <a:ext cx="1430463" cy="358430"/>
          </a:xfrm>
          <a:custGeom>
            <a:avLst/>
            <a:gdLst>
              <a:gd name="connsiteX0" fmla="*/ 0 w 3412130"/>
              <a:gd name="connsiteY0" fmla="*/ 0 h 854975"/>
              <a:gd name="connsiteX1" fmla="*/ 3073379 w 3412130"/>
              <a:gd name="connsiteY1" fmla="*/ 0 h 854975"/>
              <a:gd name="connsiteX2" fmla="*/ 3412130 w 3412130"/>
              <a:gd name="connsiteY2" fmla="*/ 443934 h 854975"/>
              <a:gd name="connsiteX3" fmla="*/ 3098368 w 3412130"/>
              <a:gd name="connsiteY3" fmla="*/ 854975 h 854975"/>
              <a:gd name="connsiteX4" fmla="*/ 0 w 3412130"/>
              <a:gd name="connsiteY4" fmla="*/ 854975 h 854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2130" h="854975">
                <a:moveTo>
                  <a:pt x="0" y="0"/>
                </a:moveTo>
                <a:lnTo>
                  <a:pt x="3073379" y="0"/>
                </a:lnTo>
                <a:lnTo>
                  <a:pt x="3412130" y="443934"/>
                </a:lnTo>
                <a:lnTo>
                  <a:pt x="3098368" y="854975"/>
                </a:lnTo>
                <a:lnTo>
                  <a:pt x="0" y="85497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lIns="199453" rtlCol="0" anchor="ctr"/>
          <a:lstStyle/>
          <a:p>
            <a:pPr>
              <a:spcBef>
                <a:spcPts val="400"/>
              </a:spcBef>
              <a:buClr>
                <a:schemeClr val="tx2"/>
              </a:buClr>
              <a:buSzPct val="80000"/>
            </a:pPr>
            <a:endParaRPr lang="en-US" sz="90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64" name="Grafik 69">
            <a:extLst>
              <a:ext uri="{FF2B5EF4-FFF2-40B4-BE49-F238E27FC236}">
                <a16:creationId xmlns:a16="http://schemas.microsoft.com/office/drawing/2014/main" id="{EEE44D2E-0494-9653-FEA1-7BCB26915605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103150" y="4975633"/>
            <a:ext cx="556670" cy="556670"/>
          </a:xfrm>
          <a:prstGeom prst="rect">
            <a:avLst/>
          </a:prstGeom>
        </p:spPr>
      </p:pic>
      <p:sp>
        <p:nvSpPr>
          <p:cNvPr id="45" name="Freihandform: Form 39">
            <a:extLst>
              <a:ext uri="{FF2B5EF4-FFF2-40B4-BE49-F238E27FC236}">
                <a16:creationId xmlns:a16="http://schemas.microsoft.com/office/drawing/2014/main" id="{3B78A944-39C9-FF97-341E-4F2452C5AC6D}"/>
              </a:ext>
            </a:extLst>
          </p:cNvPr>
          <p:cNvSpPr>
            <a:spLocks/>
          </p:cNvSpPr>
          <p:nvPr/>
        </p:nvSpPr>
        <p:spPr>
          <a:xfrm>
            <a:off x="2109234" y="5475305"/>
            <a:ext cx="700183" cy="582595"/>
          </a:xfrm>
          <a:custGeom>
            <a:avLst/>
            <a:gdLst>
              <a:gd name="connsiteX0" fmla="*/ 1658354 w 1670169"/>
              <a:gd name="connsiteY0" fmla="*/ 1375955 h 1389682"/>
              <a:gd name="connsiteX1" fmla="*/ 1597667 w 1670169"/>
              <a:gd name="connsiteY1" fmla="*/ 1376975 h 1389682"/>
              <a:gd name="connsiteX2" fmla="*/ 12791 w 1670169"/>
              <a:gd name="connsiteY2" fmla="*/ 527866 h 1389682"/>
              <a:gd name="connsiteX3" fmla="*/ 227745 w 1670169"/>
              <a:gd name="connsiteY3" fmla="*/ 12791 h 1389682"/>
              <a:gd name="connsiteX4" fmla="*/ 740526 w 1670169"/>
              <a:gd name="connsiteY4" fmla="*/ 78960 h 1389682"/>
              <a:gd name="connsiteX5" fmla="*/ 1597667 w 1670169"/>
              <a:gd name="connsiteY5" fmla="*/ 522766 h 1389682"/>
              <a:gd name="connsiteX6" fmla="*/ 1627118 w 1670169"/>
              <a:gd name="connsiteY6" fmla="*/ 522256 h 1389682"/>
              <a:gd name="connsiteX7" fmla="*/ 1316926 w 1670169"/>
              <a:gd name="connsiteY7" fmla="*/ 928707 h 1389682"/>
              <a:gd name="connsiteX8" fmla="*/ 1658354 w 1670169"/>
              <a:gd name="connsiteY8" fmla="*/ 1375955 h 1389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89682">
                <a:moveTo>
                  <a:pt x="1658354" y="1375955"/>
                </a:moveTo>
                <a:cubicBezTo>
                  <a:pt x="1638210" y="1376593"/>
                  <a:pt x="1617938" y="1376975"/>
                  <a:pt x="1597667" y="1376975"/>
                </a:cubicBezTo>
                <a:cubicBezTo>
                  <a:pt x="937504" y="1376975"/>
                  <a:pt x="354729" y="1039499"/>
                  <a:pt x="12791" y="527866"/>
                </a:cubicBezTo>
                <a:lnTo>
                  <a:pt x="227745" y="12791"/>
                </a:lnTo>
                <a:lnTo>
                  <a:pt x="740526" y="78960"/>
                </a:lnTo>
                <a:cubicBezTo>
                  <a:pt x="931001" y="347335"/>
                  <a:pt x="1244254" y="522766"/>
                  <a:pt x="1597667" y="522766"/>
                </a:cubicBezTo>
                <a:cubicBezTo>
                  <a:pt x="1607484" y="522766"/>
                  <a:pt x="1617428" y="522639"/>
                  <a:pt x="1627118" y="522256"/>
                </a:cubicBezTo>
                <a:lnTo>
                  <a:pt x="1316926" y="928707"/>
                </a:lnTo>
                <a:lnTo>
                  <a:pt x="1658354" y="137595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46" name="Freihandform: Form 40">
            <a:extLst>
              <a:ext uri="{FF2B5EF4-FFF2-40B4-BE49-F238E27FC236}">
                <a16:creationId xmlns:a16="http://schemas.microsoft.com/office/drawing/2014/main" id="{916BE522-122F-A075-177A-B4D3B7830F52}"/>
              </a:ext>
            </a:extLst>
          </p:cNvPr>
          <p:cNvSpPr>
            <a:spLocks/>
          </p:cNvSpPr>
          <p:nvPr/>
        </p:nvSpPr>
        <p:spPr>
          <a:xfrm>
            <a:off x="2682903" y="5457881"/>
            <a:ext cx="801737" cy="593284"/>
          </a:xfrm>
          <a:custGeom>
            <a:avLst/>
            <a:gdLst>
              <a:gd name="connsiteX0" fmla="*/ 1908242 w 1912407"/>
              <a:gd name="connsiteY0" fmla="*/ 412994 h 1415181"/>
              <a:gd name="connsiteX1" fmla="*/ 352052 w 1912407"/>
              <a:gd name="connsiteY1" fmla="*/ 1414713 h 1415181"/>
              <a:gd name="connsiteX2" fmla="*/ 351925 w 1912407"/>
              <a:gd name="connsiteY2" fmla="*/ 1414713 h 1415181"/>
              <a:gd name="connsiteX3" fmla="*/ 12791 w 1912407"/>
              <a:gd name="connsiteY3" fmla="*/ 970270 h 1415181"/>
              <a:gd name="connsiteX4" fmla="*/ 326043 w 1912407"/>
              <a:gd name="connsiteY4" fmla="*/ 559740 h 1415181"/>
              <a:gd name="connsiteX5" fmla="*/ 326171 w 1912407"/>
              <a:gd name="connsiteY5" fmla="*/ 559740 h 1415181"/>
              <a:gd name="connsiteX6" fmla="*/ 1153606 w 1912407"/>
              <a:gd name="connsiteY6" fmla="*/ 12791 h 1415181"/>
              <a:gd name="connsiteX7" fmla="*/ 1350584 w 1912407"/>
              <a:gd name="connsiteY7" fmla="*/ 484900 h 1415181"/>
              <a:gd name="connsiteX8" fmla="*/ 1908242 w 1912407"/>
              <a:gd name="connsiteY8" fmla="*/ 412994 h 1415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2407" h="1415181">
                <a:moveTo>
                  <a:pt x="1908242" y="412994"/>
                </a:moveTo>
                <a:cubicBezTo>
                  <a:pt x="1604807" y="977154"/>
                  <a:pt x="1025602" y="1371620"/>
                  <a:pt x="352052" y="1414713"/>
                </a:cubicBezTo>
                <a:lnTo>
                  <a:pt x="351925" y="1414713"/>
                </a:lnTo>
                <a:lnTo>
                  <a:pt x="12791" y="970270"/>
                </a:lnTo>
                <a:lnTo>
                  <a:pt x="326043" y="559740"/>
                </a:lnTo>
                <a:lnTo>
                  <a:pt x="326171" y="559740"/>
                </a:lnTo>
                <a:cubicBezTo>
                  <a:pt x="683919" y="527101"/>
                  <a:pt x="990286" y="314059"/>
                  <a:pt x="1153606" y="12791"/>
                </a:cubicBezTo>
                <a:lnTo>
                  <a:pt x="1350584" y="484900"/>
                </a:lnTo>
                <a:lnTo>
                  <a:pt x="1908242" y="412994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47" name="Freihandform: Form 42">
            <a:extLst>
              <a:ext uri="{FF2B5EF4-FFF2-40B4-BE49-F238E27FC236}">
                <a16:creationId xmlns:a16="http://schemas.microsoft.com/office/drawing/2014/main" id="{59965872-6537-C623-976B-276162F508EA}"/>
              </a:ext>
            </a:extLst>
          </p:cNvPr>
          <p:cNvSpPr>
            <a:spLocks/>
          </p:cNvSpPr>
          <p:nvPr/>
        </p:nvSpPr>
        <p:spPr>
          <a:xfrm>
            <a:off x="1976571" y="4863955"/>
            <a:ext cx="427593" cy="812425"/>
          </a:xfrm>
          <a:custGeom>
            <a:avLst/>
            <a:gdLst>
              <a:gd name="connsiteX0" fmla="*/ 293666 w 1019950"/>
              <a:gd name="connsiteY0" fmla="*/ 1930936 h 1937906"/>
              <a:gd name="connsiteX1" fmla="*/ 262685 w 1019950"/>
              <a:gd name="connsiteY1" fmla="*/ 1878663 h 1937906"/>
              <a:gd name="connsiteX2" fmla="*/ 215002 w 1019950"/>
              <a:gd name="connsiteY2" fmla="*/ 81255 h 1937906"/>
              <a:gd name="connsiteX3" fmla="*/ 768963 w 1019950"/>
              <a:gd name="connsiteY3" fmla="*/ 12791 h 1937906"/>
              <a:gd name="connsiteX4" fmla="*/ 965559 w 1019950"/>
              <a:gd name="connsiteY4" fmla="*/ 491020 h 1937906"/>
              <a:gd name="connsiteX5" fmla="*/ 1004699 w 1019950"/>
              <a:gd name="connsiteY5" fmla="*/ 1455511 h 1937906"/>
              <a:gd name="connsiteX6" fmla="*/ 1019743 w 1019950"/>
              <a:gd name="connsiteY6" fmla="*/ 1480882 h 1937906"/>
              <a:gd name="connsiteX7" fmla="*/ 512955 w 1019950"/>
              <a:gd name="connsiteY7" fmla="*/ 1412801 h 1937906"/>
              <a:gd name="connsiteX8" fmla="*/ 293666 w 1019950"/>
              <a:gd name="connsiteY8" fmla="*/ 1930936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9950" h="1937906">
                <a:moveTo>
                  <a:pt x="293666" y="1930936"/>
                </a:moveTo>
                <a:cubicBezTo>
                  <a:pt x="283084" y="1913724"/>
                  <a:pt x="272757" y="1896385"/>
                  <a:pt x="262685" y="1878663"/>
                </a:cubicBezTo>
                <a:cubicBezTo>
                  <a:pt x="-64337" y="1305196"/>
                  <a:pt x="-60002" y="631773"/>
                  <a:pt x="215002" y="81255"/>
                </a:cubicBezTo>
                <a:lnTo>
                  <a:pt x="768963" y="12791"/>
                </a:lnTo>
                <a:lnTo>
                  <a:pt x="965559" y="491020"/>
                </a:lnTo>
                <a:cubicBezTo>
                  <a:pt x="826845" y="789483"/>
                  <a:pt x="829650" y="1148506"/>
                  <a:pt x="1004699" y="1455511"/>
                </a:cubicBezTo>
                <a:cubicBezTo>
                  <a:pt x="1009544" y="1464053"/>
                  <a:pt x="1014644" y="1472595"/>
                  <a:pt x="1019743" y="1480882"/>
                </a:cubicBezTo>
                <a:lnTo>
                  <a:pt x="512955" y="1412801"/>
                </a:lnTo>
                <a:lnTo>
                  <a:pt x="293666" y="1930936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48" name="Freihandform: Form 43">
            <a:extLst>
              <a:ext uri="{FF2B5EF4-FFF2-40B4-BE49-F238E27FC236}">
                <a16:creationId xmlns:a16="http://schemas.microsoft.com/office/drawing/2014/main" id="{5825AD1D-48E6-1239-4FFF-01D6BD163DF6}"/>
              </a:ext>
            </a:extLst>
          </p:cNvPr>
          <p:cNvSpPr>
            <a:spLocks/>
          </p:cNvSpPr>
          <p:nvPr/>
        </p:nvSpPr>
        <p:spPr>
          <a:xfrm>
            <a:off x="3148498" y="4827770"/>
            <a:ext cx="432938" cy="812425"/>
          </a:xfrm>
          <a:custGeom>
            <a:avLst/>
            <a:gdLst>
              <a:gd name="connsiteX0" fmla="*/ 1023562 w 1032700"/>
              <a:gd name="connsiteY0" fmla="*/ 1016677 h 1937906"/>
              <a:gd name="connsiteX1" fmla="*/ 826201 w 1032700"/>
              <a:gd name="connsiteY1" fmla="*/ 1860814 h 1937906"/>
              <a:gd name="connsiteX2" fmla="*/ 272113 w 1032700"/>
              <a:gd name="connsiteY2" fmla="*/ 1932338 h 1937906"/>
              <a:gd name="connsiteX3" fmla="*/ 73223 w 1032700"/>
              <a:gd name="connsiteY3" fmla="*/ 1455511 h 1937906"/>
              <a:gd name="connsiteX4" fmla="*/ 169353 w 1032700"/>
              <a:gd name="connsiteY4" fmla="*/ 1016677 h 1937906"/>
              <a:gd name="connsiteX5" fmla="*/ 12791 w 1032700"/>
              <a:gd name="connsiteY5" fmla="*/ 465521 h 1937906"/>
              <a:gd name="connsiteX6" fmla="*/ 520726 w 1032700"/>
              <a:gd name="connsiteY6" fmla="*/ 531053 h 1937906"/>
              <a:gd name="connsiteX7" fmla="*/ 736956 w 1032700"/>
              <a:gd name="connsiteY7" fmla="*/ 12791 h 1937906"/>
              <a:gd name="connsiteX8" fmla="*/ 1023562 w 1032700"/>
              <a:gd name="connsiteY8" fmla="*/ 1016677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2700" h="1937906">
                <a:moveTo>
                  <a:pt x="1023562" y="1016677"/>
                </a:moveTo>
                <a:cubicBezTo>
                  <a:pt x="1023562" y="1319603"/>
                  <a:pt x="952548" y="1606336"/>
                  <a:pt x="826201" y="1860814"/>
                </a:cubicBezTo>
                <a:lnTo>
                  <a:pt x="272113" y="1932338"/>
                </a:lnTo>
                <a:lnTo>
                  <a:pt x="73223" y="1455511"/>
                </a:lnTo>
                <a:cubicBezTo>
                  <a:pt x="134930" y="1321898"/>
                  <a:pt x="169353" y="1173240"/>
                  <a:pt x="169353" y="1016677"/>
                </a:cubicBezTo>
                <a:cubicBezTo>
                  <a:pt x="169353" y="814727"/>
                  <a:pt x="112109" y="625781"/>
                  <a:pt x="12791" y="465521"/>
                </a:cubicBezTo>
                <a:lnTo>
                  <a:pt x="520726" y="531053"/>
                </a:lnTo>
                <a:lnTo>
                  <a:pt x="736956" y="12791"/>
                </a:lnTo>
                <a:cubicBezTo>
                  <a:pt x="918634" y="304369"/>
                  <a:pt x="1023562" y="648475"/>
                  <a:pt x="1023562" y="1016677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49" name="Freihandform: Form 44">
            <a:extLst>
              <a:ext uri="{FF2B5EF4-FFF2-40B4-BE49-F238E27FC236}">
                <a16:creationId xmlns:a16="http://schemas.microsoft.com/office/drawing/2014/main" id="{F29B08F9-1AC7-4072-C485-DD99C4556354}"/>
              </a:ext>
            </a:extLst>
          </p:cNvPr>
          <p:cNvSpPr>
            <a:spLocks/>
          </p:cNvSpPr>
          <p:nvPr/>
        </p:nvSpPr>
        <p:spPr>
          <a:xfrm>
            <a:off x="2748378" y="4450046"/>
            <a:ext cx="700183" cy="577250"/>
          </a:xfrm>
          <a:custGeom>
            <a:avLst/>
            <a:gdLst>
              <a:gd name="connsiteX0" fmla="*/ 1657844 w 1670169"/>
              <a:gd name="connsiteY0" fmla="*/ 861772 h 1376933"/>
              <a:gd name="connsiteX1" fmla="*/ 1443017 w 1670169"/>
              <a:gd name="connsiteY1" fmla="*/ 1376465 h 1376933"/>
              <a:gd name="connsiteX2" fmla="*/ 929854 w 1670169"/>
              <a:gd name="connsiteY2" fmla="*/ 1310296 h 1376933"/>
              <a:gd name="connsiteX3" fmla="*/ 73096 w 1670169"/>
              <a:gd name="connsiteY3" fmla="*/ 867000 h 1376933"/>
              <a:gd name="connsiteX4" fmla="*/ 43262 w 1670169"/>
              <a:gd name="connsiteY4" fmla="*/ 867510 h 1376933"/>
              <a:gd name="connsiteX5" fmla="*/ 353837 w 1670169"/>
              <a:gd name="connsiteY5" fmla="*/ 460549 h 1376933"/>
              <a:gd name="connsiteX6" fmla="*/ 12791 w 1670169"/>
              <a:gd name="connsiteY6" fmla="*/ 13811 h 1376933"/>
              <a:gd name="connsiteX7" fmla="*/ 73096 w 1670169"/>
              <a:gd name="connsiteY7" fmla="*/ 12791 h 1376933"/>
              <a:gd name="connsiteX8" fmla="*/ 1657844 w 1670169"/>
              <a:gd name="connsiteY8" fmla="*/ 861772 h 137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76933">
                <a:moveTo>
                  <a:pt x="1657844" y="861772"/>
                </a:moveTo>
                <a:lnTo>
                  <a:pt x="1443017" y="1376465"/>
                </a:lnTo>
                <a:lnTo>
                  <a:pt x="929854" y="1310296"/>
                </a:lnTo>
                <a:cubicBezTo>
                  <a:pt x="739379" y="1042176"/>
                  <a:pt x="426254" y="867000"/>
                  <a:pt x="73096" y="867000"/>
                </a:cubicBezTo>
                <a:cubicBezTo>
                  <a:pt x="63151" y="867000"/>
                  <a:pt x="53079" y="867127"/>
                  <a:pt x="43262" y="867510"/>
                </a:cubicBezTo>
                <a:lnTo>
                  <a:pt x="353837" y="460549"/>
                </a:lnTo>
                <a:lnTo>
                  <a:pt x="12791" y="13811"/>
                </a:lnTo>
                <a:cubicBezTo>
                  <a:pt x="32807" y="13046"/>
                  <a:pt x="52952" y="12791"/>
                  <a:pt x="73096" y="12791"/>
                </a:cubicBezTo>
                <a:cubicBezTo>
                  <a:pt x="733259" y="12791"/>
                  <a:pt x="1316033" y="350267"/>
                  <a:pt x="1657844" y="861772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0" name="Freihandform: Form 45">
            <a:extLst>
              <a:ext uri="{FF2B5EF4-FFF2-40B4-BE49-F238E27FC236}">
                <a16:creationId xmlns:a16="http://schemas.microsoft.com/office/drawing/2014/main" id="{F0FCB297-D104-8CAA-E71F-DEDC74AC5424}"/>
              </a:ext>
            </a:extLst>
          </p:cNvPr>
          <p:cNvSpPr>
            <a:spLocks/>
          </p:cNvSpPr>
          <p:nvPr/>
        </p:nvSpPr>
        <p:spPr>
          <a:xfrm>
            <a:off x="1439316" y="4457012"/>
            <a:ext cx="1430463" cy="358430"/>
          </a:xfrm>
          <a:custGeom>
            <a:avLst/>
            <a:gdLst>
              <a:gd name="connsiteX0" fmla="*/ 0 w 3412130"/>
              <a:gd name="connsiteY0" fmla="*/ 0 h 854975"/>
              <a:gd name="connsiteX1" fmla="*/ 3073379 w 3412130"/>
              <a:gd name="connsiteY1" fmla="*/ 0 h 854975"/>
              <a:gd name="connsiteX2" fmla="*/ 3412130 w 3412130"/>
              <a:gd name="connsiteY2" fmla="*/ 443934 h 854975"/>
              <a:gd name="connsiteX3" fmla="*/ 3098368 w 3412130"/>
              <a:gd name="connsiteY3" fmla="*/ 854975 h 854975"/>
              <a:gd name="connsiteX4" fmla="*/ 0 w 3412130"/>
              <a:gd name="connsiteY4" fmla="*/ 854975 h 854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2130" h="854975">
                <a:moveTo>
                  <a:pt x="0" y="0"/>
                </a:moveTo>
                <a:lnTo>
                  <a:pt x="3073379" y="0"/>
                </a:lnTo>
                <a:lnTo>
                  <a:pt x="3412130" y="443934"/>
                </a:lnTo>
                <a:lnTo>
                  <a:pt x="3098368" y="854975"/>
                </a:lnTo>
                <a:lnTo>
                  <a:pt x="0" y="85497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lIns="199453" rtlCol="0" anchor="ctr"/>
          <a:lstStyle/>
          <a:p>
            <a:pPr>
              <a:spcBef>
                <a:spcPts val="400"/>
              </a:spcBef>
              <a:buClr>
                <a:schemeClr val="tx2"/>
              </a:buClr>
              <a:buSzPct val="80000"/>
            </a:pPr>
            <a:endParaRPr lang="en-US" sz="90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65" name="Grafik 71">
            <a:extLst>
              <a:ext uri="{FF2B5EF4-FFF2-40B4-BE49-F238E27FC236}">
                <a16:creationId xmlns:a16="http://schemas.microsoft.com/office/drawing/2014/main" id="{F6A664EC-1207-E32D-56D3-356B211BBFFD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499327" y="4975633"/>
            <a:ext cx="556670" cy="556670"/>
          </a:xfrm>
          <a:prstGeom prst="rect">
            <a:avLst/>
          </a:prstGeom>
        </p:spPr>
      </p:pic>
      <p:sp>
        <p:nvSpPr>
          <p:cNvPr id="66" name="Rechteck 72">
            <a:extLst>
              <a:ext uri="{FF2B5EF4-FFF2-40B4-BE49-F238E27FC236}">
                <a16:creationId xmlns:a16="http://schemas.microsoft.com/office/drawing/2014/main" id="{40DE2B89-F42B-9C41-C5CC-813BFEB2050B}"/>
              </a:ext>
            </a:extLst>
          </p:cNvPr>
          <p:cNvSpPr>
            <a:spLocks/>
          </p:cNvSpPr>
          <p:nvPr/>
        </p:nvSpPr>
        <p:spPr>
          <a:xfrm>
            <a:off x="407988" y="1563945"/>
            <a:ext cx="5525862" cy="16478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 dirty="0">
                <a:solidFill>
                  <a:schemeClr val="tx1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39700" lvl="1" indent="-1397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sym typeface="Futura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sym typeface="Futura"/>
              </a:rPr>
              <a:t>amet</a:t>
            </a:r>
            <a:r>
              <a:rPr lang="en-US" sz="1400" dirty="0">
                <a:solidFill>
                  <a:schemeClr val="tx1"/>
                </a:solidFill>
                <a:sym typeface="Futura"/>
              </a:rPr>
              <a:t>, </a:t>
            </a:r>
            <a:r>
              <a:rPr lang="en-US" sz="1400" dirty="0" err="1">
                <a:solidFill>
                  <a:schemeClr val="tx1"/>
                </a:solidFill>
                <a:sym typeface="Futura"/>
              </a:rPr>
              <a:t>consectetur</a:t>
            </a:r>
            <a:r>
              <a:rPr lang="en-US" sz="1400" dirty="0">
                <a:solidFill>
                  <a:schemeClr val="tx1"/>
                </a:solidFill>
                <a:sym typeface="Futura"/>
              </a:rPr>
              <a:t> </a:t>
            </a:r>
            <a:r>
              <a:rPr lang="en-US" sz="1400" dirty="0" err="1">
                <a:solidFill>
                  <a:schemeClr val="tx1"/>
                </a:solidFill>
                <a:sym typeface="Futura"/>
              </a:rPr>
              <a:t>adipiscing</a:t>
            </a:r>
            <a:r>
              <a:rPr lang="en-US" sz="1400" dirty="0">
                <a:solidFill>
                  <a:schemeClr val="tx1"/>
                </a:solidFill>
                <a:sym typeface="Futura"/>
              </a:rPr>
              <a:t> </a:t>
            </a:r>
            <a:r>
              <a:rPr lang="en-US" sz="1400" dirty="0" err="1">
                <a:solidFill>
                  <a:schemeClr val="tx1"/>
                </a:solidFill>
                <a:sym typeface="Futura"/>
              </a:rPr>
              <a:t>elit</a:t>
            </a:r>
            <a:r>
              <a:rPr lang="en-US" sz="1400" dirty="0">
                <a:solidFill>
                  <a:schemeClr val="tx1"/>
                </a:solidFill>
                <a:sym typeface="Futura"/>
              </a:rPr>
              <a:t> </a:t>
            </a:r>
          </a:p>
          <a:p>
            <a:pPr marL="139700" lvl="1" indent="-1397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sym typeface="Futura"/>
              </a:rPr>
              <a:t>Ut </a:t>
            </a:r>
            <a:r>
              <a:rPr lang="en-US" sz="1400" dirty="0" err="1">
                <a:solidFill>
                  <a:schemeClr val="tx1"/>
                </a:solidFill>
                <a:sym typeface="Futura"/>
              </a:rPr>
              <a:t>enim</a:t>
            </a:r>
            <a:r>
              <a:rPr lang="en-US" sz="1400" dirty="0">
                <a:solidFill>
                  <a:schemeClr val="tx1"/>
                </a:solidFill>
                <a:sym typeface="Futura"/>
              </a:rPr>
              <a:t> ad minim </a:t>
            </a:r>
            <a:r>
              <a:rPr lang="en-US" sz="1400" dirty="0" err="1">
                <a:solidFill>
                  <a:schemeClr val="tx1"/>
                </a:solidFill>
                <a:sym typeface="Futura"/>
              </a:rPr>
              <a:t>veniam</a:t>
            </a:r>
            <a:endParaRPr lang="en-US" sz="1400" dirty="0">
              <a:solidFill>
                <a:schemeClr val="tx1"/>
              </a:solidFill>
              <a:sym typeface="Futura"/>
            </a:endParaRPr>
          </a:p>
        </p:txBody>
      </p:sp>
      <p:sp>
        <p:nvSpPr>
          <p:cNvPr id="67" name="Rechteck 73">
            <a:extLst>
              <a:ext uri="{FF2B5EF4-FFF2-40B4-BE49-F238E27FC236}">
                <a16:creationId xmlns:a16="http://schemas.microsoft.com/office/drawing/2014/main" id="{82FA7F68-3230-9165-84AC-416389FC1534}"/>
              </a:ext>
            </a:extLst>
          </p:cNvPr>
          <p:cNvSpPr>
            <a:spLocks/>
          </p:cNvSpPr>
          <p:nvPr/>
        </p:nvSpPr>
        <p:spPr>
          <a:xfrm>
            <a:off x="6294548" y="1563945"/>
            <a:ext cx="5525862" cy="16478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 dirty="0">
                <a:solidFill>
                  <a:schemeClr val="tx1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39700" lvl="1" indent="-1397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sym typeface="Futura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sym typeface="Futura"/>
              </a:rPr>
              <a:t>amet</a:t>
            </a:r>
            <a:r>
              <a:rPr lang="en-US" sz="1400" dirty="0">
                <a:solidFill>
                  <a:schemeClr val="tx1"/>
                </a:solidFill>
                <a:sym typeface="Futura"/>
              </a:rPr>
              <a:t>, </a:t>
            </a:r>
            <a:r>
              <a:rPr lang="en-US" sz="1400" dirty="0" err="1">
                <a:solidFill>
                  <a:schemeClr val="tx1"/>
                </a:solidFill>
                <a:sym typeface="Futura"/>
              </a:rPr>
              <a:t>consectetur</a:t>
            </a:r>
            <a:r>
              <a:rPr lang="en-US" sz="1400" dirty="0">
                <a:solidFill>
                  <a:schemeClr val="tx1"/>
                </a:solidFill>
                <a:sym typeface="Futura"/>
              </a:rPr>
              <a:t> </a:t>
            </a:r>
            <a:r>
              <a:rPr lang="en-US" sz="1400" dirty="0" err="1">
                <a:solidFill>
                  <a:schemeClr val="tx1"/>
                </a:solidFill>
                <a:sym typeface="Futura"/>
              </a:rPr>
              <a:t>adipiscing</a:t>
            </a:r>
            <a:r>
              <a:rPr lang="en-US" sz="1400" dirty="0">
                <a:solidFill>
                  <a:schemeClr val="tx1"/>
                </a:solidFill>
                <a:sym typeface="Futura"/>
              </a:rPr>
              <a:t> </a:t>
            </a:r>
            <a:r>
              <a:rPr lang="en-US" sz="1400" dirty="0" err="1">
                <a:solidFill>
                  <a:schemeClr val="tx1"/>
                </a:solidFill>
                <a:sym typeface="Futura"/>
              </a:rPr>
              <a:t>elit</a:t>
            </a:r>
            <a:r>
              <a:rPr lang="en-US" sz="1400" dirty="0">
                <a:solidFill>
                  <a:schemeClr val="tx1"/>
                </a:solidFill>
                <a:sym typeface="Futura"/>
              </a:rPr>
              <a:t> </a:t>
            </a:r>
          </a:p>
          <a:p>
            <a:pPr marL="139700" lvl="1" indent="-1397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sym typeface="Futura"/>
              </a:rPr>
              <a:t>Ut </a:t>
            </a:r>
            <a:r>
              <a:rPr lang="en-US" sz="1400" dirty="0" err="1">
                <a:solidFill>
                  <a:schemeClr val="tx1"/>
                </a:solidFill>
                <a:sym typeface="Futura"/>
              </a:rPr>
              <a:t>enim</a:t>
            </a:r>
            <a:r>
              <a:rPr lang="en-US" sz="1400" dirty="0">
                <a:solidFill>
                  <a:schemeClr val="tx1"/>
                </a:solidFill>
                <a:sym typeface="Futura"/>
              </a:rPr>
              <a:t> ad minim </a:t>
            </a:r>
            <a:r>
              <a:rPr lang="en-US" sz="1400" dirty="0" err="1">
                <a:solidFill>
                  <a:schemeClr val="tx1"/>
                </a:solidFill>
                <a:sym typeface="Futura"/>
              </a:rPr>
              <a:t>veniam</a:t>
            </a:r>
            <a:endParaRPr lang="en-US" sz="1400" dirty="0">
              <a:solidFill>
                <a:schemeClr val="tx1"/>
              </a:solidFill>
              <a:sym typeface="Futura"/>
            </a:endParaRPr>
          </a:p>
        </p:txBody>
      </p:sp>
    </p:spTree>
    <p:extLst>
      <p:ext uri="{BB962C8B-B14F-4D97-AF65-F5344CB8AC3E}">
        <p14:creationId xmlns:p14="http://schemas.microsoft.com/office/powerpoint/2010/main" val="36120104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7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00&quot; g=&quot;4C&quot; b=&quot;DE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hink-cell 2025">
  <a:themeElements>
    <a:clrScheme name="think-cell Color Theme">
      <a:dk1>
        <a:srgbClr val="080808"/>
      </a:dk1>
      <a:lt1>
        <a:srgbClr val="FFFFFF"/>
      </a:lt1>
      <a:dk2>
        <a:srgbClr val="525252"/>
      </a:dk2>
      <a:lt2>
        <a:srgbClr val="EFEFF1"/>
      </a:lt2>
      <a:accent1>
        <a:srgbClr val="2972FF"/>
      </a:accent1>
      <a:accent2>
        <a:srgbClr val="1BBC9B"/>
      </a:accent2>
      <a:accent3>
        <a:srgbClr val="E4941B"/>
      </a:accent3>
      <a:accent4>
        <a:srgbClr val="D9E9FF"/>
      </a:accent4>
      <a:accent5>
        <a:srgbClr val="8EC1FF"/>
      </a:accent5>
      <a:accent6>
        <a:srgbClr val="A1A1A1"/>
      </a:accent6>
      <a:hlink>
        <a:srgbClr val="0070B0"/>
      </a:hlink>
      <a:folHlink>
        <a:srgbClr val="C52536"/>
      </a:folHlink>
    </a:clrScheme>
    <a:fontScheme name="think-ce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72000" tIns="72000" rIns="72000" bIns="72000" rtlCol="0" anchor="ctr"/>
      <a:lstStyle>
        <a:defPPr algn="l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4" id="{0B504101-9194-4A14-AF9D-40F39D80FAFA}" vid="{35522184-4EA8-43FB-9E4C-3EB7DEE4D30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6CAD090FCB6C41B211BDAFA3947C73" ma:contentTypeVersion="16" ma:contentTypeDescription="Create a new document." ma:contentTypeScope="" ma:versionID="301482ed4773fabb76b6807e36728f3a">
  <xsd:schema xmlns:xsd="http://www.w3.org/2001/XMLSchema" xmlns:xs="http://www.w3.org/2001/XMLSchema" xmlns:p="http://schemas.microsoft.com/office/2006/metadata/properties" xmlns:ns2="40b3a238-e851-4bda-be3d-1ed623dfc157" xmlns:ns3="4bd4d397-a849-4111-8caa-2cd1909bb285" targetNamespace="http://schemas.microsoft.com/office/2006/metadata/properties" ma:root="true" ma:fieldsID="6695e88c5ab114dadcea6b20c86d0095" ns2:_="" ns3:_="">
    <xsd:import namespace="40b3a238-e851-4bda-be3d-1ed623dfc157"/>
    <xsd:import namespace="4bd4d397-a849-4111-8caa-2cd1909bb28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b3a238-e851-4bda-be3d-1ed623dfc1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d4d397-a849-4111-8caa-2cd1909bb28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1f2e69d-9d44-4842-ab62-01f6b5913424}" ma:internalName="TaxCatchAll" ma:showField="CatchAllData" ma:web="4bd4d397-a849-4111-8caa-2cd1909bb2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bd4d397-a849-4111-8caa-2cd1909bb285" xsi:nil="true"/>
    <lcf76f155ced4ddcb4097134ff3c332f xmlns="40b3a238-e851-4bda-be3d-1ed623dfc157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1208B101-3F20-40B0-B34F-43D8057E9CEB}"/>
</file>

<file path=customXml/itemProps2.xml><?xml version="1.0" encoding="utf-8"?>
<ds:datastoreItem xmlns:ds="http://schemas.openxmlformats.org/officeDocument/2006/customXml" ds:itemID="{A4A1E71F-E126-4283-9A2A-5A6883223E58}"/>
</file>

<file path=customXml/itemProps3.xml><?xml version="1.0" encoding="utf-8"?>
<ds:datastoreItem xmlns:ds="http://schemas.openxmlformats.org/officeDocument/2006/customXml" ds:itemID="{96A7E0AB-EBBB-4B1C-8B54-AF55CD80071D}"/>
</file>

<file path=docProps/app.xml><?xml version="1.0" encoding="utf-8"?>
<Properties xmlns="http://schemas.openxmlformats.org/officeDocument/2006/extended-properties" xmlns:vt="http://schemas.openxmlformats.org/officeDocument/2006/docPropsVTypes">
  <Template>Timelines, Milestones, Project Planning</Template>
  <TotalTime>0</TotalTime>
  <Words>312</Words>
  <Application>Microsoft Office PowerPoint</Application>
  <PresentationFormat>Widescreen</PresentationFormat>
  <Paragraphs>60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alibri</vt:lpstr>
      <vt:lpstr>Futura</vt:lpstr>
      <vt:lpstr>Symbol</vt:lpstr>
      <vt:lpstr>Verdana</vt:lpstr>
      <vt:lpstr>1_think-cell 2025</vt:lpstr>
      <vt:lpstr>think-cell Slide</vt:lpstr>
      <vt:lpstr>Roadmap templates</vt:lpstr>
      <vt:lpstr>You can use think-cell to update your roadmap template in seconds</vt:lpstr>
      <vt:lpstr>Road map</vt:lpstr>
      <vt:lpstr>Milestones</vt:lpstr>
      <vt:lpstr>Sprint plann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24T16:13:45Z</dcterms:created>
  <dcterms:modified xsi:type="dcterms:W3CDTF">2025-07-24T16:13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6CAD090FCB6C41B211BDAFA3947C73</vt:lpwstr>
  </property>
</Properties>
</file>